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3" r:id="rId2"/>
    <p:sldMasterId id="2147483809" r:id="rId3"/>
  </p:sldMasterIdLst>
  <p:notesMasterIdLst>
    <p:notesMasterId r:id="rId11"/>
  </p:notesMasterIdLst>
  <p:handoutMasterIdLst>
    <p:handoutMasterId r:id="rId12"/>
  </p:handoutMasterIdLst>
  <p:sldIdLst>
    <p:sldId id="382" r:id="rId4"/>
    <p:sldId id="383" r:id="rId5"/>
    <p:sldId id="2076136726" r:id="rId6"/>
    <p:sldId id="258" r:id="rId7"/>
    <p:sldId id="2076136727" r:id="rId8"/>
    <p:sldId id="267" r:id="rId9"/>
    <p:sldId id="16218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53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  <p:cmAuthor id="2" name="Catharina Cariss | i-pointing" initials="CC|ip" lastIdx="1" clrIdx="1">
    <p:extLst>
      <p:ext uri="{19B8F6BF-5375-455C-9EA6-DF929625EA0E}">
        <p15:presenceInfo xmlns:p15="http://schemas.microsoft.com/office/powerpoint/2012/main" userId="S::catharina.cariss@i-pointing.de::a835715a-0d87-41cf-b76a-4825062ebd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FFFF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84" autoAdjust="0"/>
    <p:restoredTop sz="97461" autoAdjust="0"/>
  </p:normalViewPr>
  <p:slideViewPr>
    <p:cSldViewPr snapToGrid="0" showGuides="1">
      <p:cViewPr varScale="1">
        <p:scale>
          <a:sx n="86" d="100"/>
          <a:sy n="86" d="100"/>
        </p:scale>
        <p:origin x="792" y="67"/>
      </p:cViewPr>
      <p:guideLst>
        <p:guide pos="3953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398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11/25/2020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11/25/2020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izzettel</a:t>
            </a:r>
            <a:r>
              <a:rPr kumimoji="0" lang="de-DE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376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39.png"/><Relationship Id="rId4" Type="http://schemas.openxmlformats.org/officeDocument/2006/relationships/image" Target="../media/image4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39.png"/><Relationship Id="rId4" Type="http://schemas.openxmlformats.org/officeDocument/2006/relationships/image" Target="../media/image9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39.png"/><Relationship Id="rId4" Type="http://schemas.openxmlformats.org/officeDocument/2006/relationships/image" Target="../media/image12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39.png"/><Relationship Id="rId4" Type="http://schemas.openxmlformats.org/officeDocument/2006/relationships/image" Target="../media/image4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39.png"/><Relationship Id="rId4" Type="http://schemas.openxmlformats.org/officeDocument/2006/relationships/image" Target="../media/image9.sv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39.png"/><Relationship Id="rId4" Type="http://schemas.openxmlformats.org/officeDocument/2006/relationships/image" Target="../media/image12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4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48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48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48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48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4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39.pn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DE" noProof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80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00497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de-DE" noProof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149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140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307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575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159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530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ontak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de-DE" noProof="0"/>
              <a:t>Kontakt bearbeiten</a:t>
            </a:r>
          </a:p>
          <a:p>
            <a:pPr lvl="1"/>
            <a:r>
              <a:rPr lang="de-DE" noProof="0"/>
              <a:t>Name etc.</a:t>
            </a:r>
          </a:p>
          <a:p>
            <a:pPr lvl="2"/>
            <a:r>
              <a:rPr lang="de-DE" noProof="0"/>
              <a:t>Abteilung etc.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304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45F208-7FBC-456C-AC0C-981815AC8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FDD9AE-915E-4B3E-91FB-7275C7A4D9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CDF85-BC1E-4153-BBBA-D5CC81804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BA44-39D5-4204-8444-C01BAEEB0101}" type="datetime1">
              <a:rPr lang="de-DE" smtClean="0"/>
              <a:pPr/>
              <a:t>25.11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9A948E-92E7-4D99-AF59-58508ABE2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CFC351-A169-4791-9DAF-8B79F2FF8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03A8F-9305-4CA6-8C1A-4488D2E14C1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64552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F892EFA-26AA-42CB-AADD-84B12356C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0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09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420B79CB-8D66-48BD-A5D2-A37C0123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07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6ADAD97F-C8DC-4E41-BE8D-71AC2140F0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687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A6B84324-1EA7-4CFC-90A8-828085020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182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5EC16A07-2831-49DA-88B1-B2DAEFACD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45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BE89C8E-7FF1-4200-B3D3-59BBB2B4B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3620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248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602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367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379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06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577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500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14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649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909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01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74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008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2334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359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990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642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077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561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 err="1"/>
              <a:t>Kapiteltrenner</a:t>
            </a:r>
            <a:r>
              <a:rPr lang="de-DE" noProof="0"/>
              <a:t> 60 </a:t>
            </a:r>
            <a:r>
              <a:rPr lang="de-DE" noProof="0" err="1"/>
              <a:t>pt</a:t>
            </a:r>
            <a:endParaRPr lang="de-DE" noProof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08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408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008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8218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28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478800"/>
            <a:ext cx="5904675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 noProof="0"/>
              <a:t>Inhaltsverzeichni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48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369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48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304501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Ganzseitiges 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</a:t>
            </a:r>
            <a:br>
              <a:rPr lang="de-DE" noProof="0"/>
            </a:br>
            <a:r>
              <a:rPr lang="de-DE" noProof="0"/>
              <a:t>bearbeiten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622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422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3F881CD6-C462-4F22-A33A-D863714CB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528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167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023B7438-1A5A-45DD-BC01-0328F6E18D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975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847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359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84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922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083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264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de-DE" noProof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18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35015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de-DE" noProof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497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8928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093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de-DE" noProof="0"/>
              <a:t>Bitte hier das Zitat einfügen.</a:t>
            </a:r>
          </a:p>
          <a:p>
            <a:pPr lvl="1"/>
            <a:r>
              <a:rPr lang="de-DE" noProof="0"/>
              <a:t>Name, Aut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de-DE" noProof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820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122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 noProof="0"/>
              <a:t>Titelformat durch Klicken bearbeiten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791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Kontak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de-DE" noProof="0"/>
              <a:t>Kontakt bearbeiten</a:t>
            </a:r>
          </a:p>
          <a:p>
            <a:pPr lvl="1"/>
            <a:r>
              <a:rPr lang="de-DE" noProof="0"/>
              <a:t>Name etc.</a:t>
            </a:r>
          </a:p>
          <a:p>
            <a:pPr lvl="2"/>
            <a:r>
              <a:rPr lang="de-DE" noProof="0"/>
              <a:t>Abteilung etc.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978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45F208-7FBC-456C-AC0C-981815AC8E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AFDD9AE-915E-4B3E-91FB-7275C7A4D9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ECDF85-BC1E-4153-BBBA-D5CC81804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79BA44-39D5-4204-8444-C01BAEEB0101}" type="datetime1">
              <a:rPr lang="de-DE" smtClean="0"/>
              <a:pPr/>
              <a:t>25.11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9A948E-92E7-4D99-AF59-58508ABE2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CFC351-A169-4791-9DAF-8B79F2FF8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03A8F-9305-4CA6-8C1A-4488D2E14C1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3678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DF892EFA-26AA-42CB-AADD-84B12356C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20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78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420B79CB-8D66-48BD-A5D2-A37C0123F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561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6ADAD97F-C8DC-4E41-BE8D-71AC2140F0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395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A6B84324-1EA7-4CFC-90A8-828085020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Titel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8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60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5EC16A07-2831-49DA-88B1-B2DAEFACD6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6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117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BE89C8E-7FF1-4200-B3D3-59BBB2B4B1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Titel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358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2553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692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8206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859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906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3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607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717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744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92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905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733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509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266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058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8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de-DE" noProof="0"/>
              <a:t>Subhead für Titelgröße 48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706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Titel 4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40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237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Titel 36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de-DE" noProof="0"/>
              <a:t>Subhead für Titelgröße 36 pt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745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6765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 err="1"/>
              <a:t>Kapiteltrenner</a:t>
            </a:r>
            <a:r>
              <a:rPr lang="de-DE" noProof="0"/>
              <a:t> 60 </a:t>
            </a:r>
            <a:r>
              <a:rPr lang="de-DE" noProof="0" err="1"/>
              <a:t>pt</a:t>
            </a:r>
            <a:endParaRPr lang="de-DE" noProof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531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742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Kapiteltrenner 8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de-DE" noProof="0"/>
              <a:t>Subhead für Kapiteltrennergröße 8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929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3 Zeilen</a:t>
            </a:r>
            <a:br>
              <a:rPr lang="de-DE" noProof="0"/>
            </a:br>
            <a:r>
              <a:rPr lang="de-DE" noProof="0"/>
              <a:t>Kapiteltrenner 60 pt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6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59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 </a:t>
            </a:r>
            <a:br>
              <a:rPr lang="de-DE" noProof="0"/>
            </a:br>
            <a:r>
              <a:rPr lang="de-DE" noProof="0"/>
              <a:t>4 Zeilen</a:t>
            </a:r>
            <a:br>
              <a:rPr lang="de-DE" noProof="0"/>
            </a:br>
            <a:r>
              <a:rPr lang="de-DE" noProof="0"/>
              <a:t>Kapiteltrenner 40 pt</a:t>
            </a:r>
            <a:br>
              <a:rPr lang="de-DE" noProof="0"/>
            </a:br>
            <a:r>
              <a:rPr lang="de-DE" noProof="0"/>
              <a:t>Extra lange Überschriften</a:t>
            </a:r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de-DE" noProof="0"/>
              <a:t>Subhead für Kapiteltrennergröße 40 pt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41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478800"/>
            <a:ext cx="5904675" cy="576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 noProof="0"/>
              <a:t>Inhaltsverzeichni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806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haltsverzeichnis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22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32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809318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Ganzseitiges 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</a:t>
            </a:r>
            <a:br>
              <a:rPr lang="de-DE" noProof="0"/>
            </a:br>
            <a:r>
              <a:rPr lang="de-DE" noProof="0"/>
              <a:t>bearbeiten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63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  <a:br>
              <a:rPr lang="de-DE" noProof="0"/>
            </a:br>
            <a:r>
              <a:rPr lang="de-DE" noProof="0"/>
              <a:t>3 Zeil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829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3F881CD6-C462-4F22-A33A-D863714CB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928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563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023B7438-1A5A-45DD-BC01-0328F6E18D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251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format bearbeiten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951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650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130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369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29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Titelformat bearbeiten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noProof="0"/>
              <a:t>Intern | © Siemens 20XX | Autor | Abteilung | TT.MM.JJJJ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19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8" Type="http://schemas.openxmlformats.org/officeDocument/2006/relationships/tags" Target="../tags/tag3.xml"/><Relationship Id="rId5" Type="http://schemas.openxmlformats.org/officeDocument/2006/relationships/slideLayout" Target="../slideLayouts/slideLayout59.xml"/><Relationship Id="rId61" Type="http://schemas.openxmlformats.org/officeDocument/2006/relationships/image" Target="../media/image31.emf"/><Relationship Id="rId1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59" Type="http://schemas.openxmlformats.org/officeDocument/2006/relationships/tags" Target="../tags/tag4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Relationship Id="rId57" Type="http://schemas.openxmlformats.org/officeDocument/2006/relationships/vmlDrawing" Target="../drawings/vmlDrawing2.vml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Relationship Id="rId60" Type="http://schemas.openxmlformats.org/officeDocument/2006/relationships/oleObject" Target="../embeddings/oleObject2.bin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53" Type="http://schemas.openxmlformats.org/officeDocument/2006/relationships/slideLayout" Target="../slideLayouts/slideLayout162.xml"/><Relationship Id="rId58" Type="http://schemas.openxmlformats.org/officeDocument/2006/relationships/tags" Target="../tags/tag5.xml"/><Relationship Id="rId5" Type="http://schemas.openxmlformats.org/officeDocument/2006/relationships/slideLayout" Target="../slideLayouts/slideLayout114.xml"/><Relationship Id="rId61" Type="http://schemas.openxmlformats.org/officeDocument/2006/relationships/image" Target="../media/image31.emf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56" Type="http://schemas.openxmlformats.org/officeDocument/2006/relationships/theme" Target="../theme/theme3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46" Type="http://schemas.openxmlformats.org/officeDocument/2006/relationships/slideLayout" Target="../slideLayouts/slideLayout155.xml"/><Relationship Id="rId59" Type="http://schemas.openxmlformats.org/officeDocument/2006/relationships/tags" Target="../tags/tag6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vmlDrawing" Target="../drawings/vmlDrawing3.v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82E5710-24EC-4B60-82C9-09CE50E8A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3489844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Слайд think-cell" r:id="rId58" imgW="344" imgH="344" progId="TCLayout.ActiveDocument.1">
                  <p:embed/>
                </p:oleObj>
              </mc:Choice>
              <mc:Fallback>
                <p:oleObj name="Слайд think-cell" r:id="rId58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тр.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7BADF63-F2FA-4A86-84C7-D0A067165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3891189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Слайд think-cell" r:id="rId60" imgW="624" imgH="623" progId="TCLayout.ActiveDocument.1">
                  <p:embed/>
                </p:oleObj>
              </mc:Choice>
              <mc:Fallback>
                <p:oleObj name="Слайд think-cell" r:id="rId60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69AA690-3B07-42F5-85C8-7E9B0A170465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tern | © Siemens 202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14543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  <p:sldLayoutId id="2147483808" r:id="rId5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88F71BA-4EB4-41FA-A93F-F7AD83A37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4076837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Слайд think-cell" r:id="rId60" imgW="624" imgH="623" progId="TCLayout.ActiveDocument.1">
                  <p:embed/>
                </p:oleObj>
              </mc:Choice>
              <mc:Fallback>
                <p:oleObj name="Слайд think-cell" r:id="rId60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7CD39D3-D68F-4C64-B0FF-82CFFB94769B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en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Intern | © Siemens 2020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Page </a:t>
            </a:r>
            <a:fld id="{15EBE321-CBB1-4E91-BD14-37C8D44326FB}" type="slidenum">
              <a:rPr lang="de-DE" noProof="0" smtClean="0"/>
              <a:pPr/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701081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  <p:sldLayoutId id="2147483841" r:id="rId32"/>
    <p:sldLayoutId id="2147483842" r:id="rId33"/>
    <p:sldLayoutId id="2147483843" r:id="rId34"/>
    <p:sldLayoutId id="2147483844" r:id="rId35"/>
    <p:sldLayoutId id="2147483845" r:id="rId36"/>
    <p:sldLayoutId id="2147483846" r:id="rId37"/>
    <p:sldLayoutId id="2147483847" r:id="rId38"/>
    <p:sldLayoutId id="2147483848" r:id="rId39"/>
    <p:sldLayoutId id="2147483849" r:id="rId40"/>
    <p:sldLayoutId id="2147483850" r:id="rId41"/>
    <p:sldLayoutId id="2147483851" r:id="rId42"/>
    <p:sldLayoutId id="2147483852" r:id="rId43"/>
    <p:sldLayoutId id="2147483853" r:id="rId44"/>
    <p:sldLayoutId id="2147483854" r:id="rId45"/>
    <p:sldLayoutId id="2147483855" r:id="rId46"/>
    <p:sldLayoutId id="2147483856" r:id="rId47"/>
    <p:sldLayoutId id="2147483857" r:id="rId48"/>
    <p:sldLayoutId id="2147483858" r:id="rId49"/>
    <p:sldLayoutId id="2147483859" r:id="rId50"/>
    <p:sldLayoutId id="2147483860" r:id="rId51"/>
    <p:sldLayoutId id="2147483861" r:id="rId52"/>
    <p:sldLayoutId id="2147483862" r:id="rId53"/>
    <p:sldLayoutId id="2147483863" r:id="rId54"/>
    <p:sldLayoutId id="2147483864" r:id="rId5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tags" Target="../tags/tag8.xml"/><Relationship Id="rId7" Type="http://schemas.openxmlformats.org/officeDocument/2006/relationships/image" Target="../media/image3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tags" Target="../tags/tag10.xml"/><Relationship Id="rId7" Type="http://schemas.openxmlformats.org/officeDocument/2006/relationships/image" Target="../media/image53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56.sv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8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5F48051-39EC-4609-A3A8-B199313CE7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41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Слайд think-cell" r:id="rId6" imgW="624" imgH="623" progId="TCLayout.ActiveDocument.1">
                  <p:embed/>
                </p:oleObj>
              </mc:Choice>
              <mc:Fallback>
                <p:oleObj name="Слайд think-cell" r:id="rId6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A467A6-6179-495F-8025-CFDF9C7971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ru-RU" sz="4000" dirty="0">
              <a:latin typeface="Siemens Sans Black" pitchFamily="2" charset="0"/>
              <a:ea typeface="+mj-ea"/>
              <a:cs typeface="+mj-cs"/>
              <a:sym typeface="Siemens Sans Black" pitchFamily="2" charset="0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5008717"/>
            <a:ext cx="11214249" cy="1231106"/>
          </a:xfrm>
        </p:spPr>
        <p:txBody>
          <a:bodyPr/>
          <a:lstStyle/>
          <a:p>
            <a:r>
              <a:rPr lang="ru-RU" b="0" dirty="0">
                <a:solidFill>
                  <a:schemeClr val="tx2"/>
                </a:solidFill>
                <a:latin typeface="Siemens Sans Black" panose="02020500000000000000" pitchFamily="18" charset="0"/>
              </a:rPr>
              <a:t>Альянс 100% технической готовности</a:t>
            </a:r>
            <a:r>
              <a:rPr lang="de-DE" b="0" dirty="0">
                <a:solidFill>
                  <a:schemeClr val="tx2"/>
                </a:solidFill>
                <a:latin typeface="Siemens Sans Black" panose="02020500000000000000" pitchFamily="18" charset="0"/>
              </a:rPr>
              <a:t>.</a:t>
            </a:r>
          </a:p>
        </p:txBody>
      </p:sp>
      <p:sp>
        <p:nvSpPr>
          <p:cNvPr id="2" name="Subtitle">
            <a:extLst>
              <a:ext uri="{FF2B5EF4-FFF2-40B4-BE49-F238E27FC236}">
                <a16:creationId xmlns:a16="http://schemas.microsoft.com/office/drawing/2014/main" id="{27507DB2-A004-4C7F-BB03-CAB07E07A0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1863" y="5444485"/>
            <a:ext cx="9288000" cy="1156332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  <a:latin typeface="Siemens Sans" panose="02020500000000000000" pitchFamily="18" charset="0"/>
              </a:rPr>
              <a:t>Открытая экосистема </a:t>
            </a:r>
            <a:r>
              <a:rPr lang="de-DE" dirty="0">
                <a:solidFill>
                  <a:schemeClr val="tx2"/>
                </a:solidFill>
                <a:latin typeface="Siemens Sans" panose="02020500000000000000" pitchFamily="18" charset="0"/>
              </a:rPr>
              <a:t>Siemens Mobility</a:t>
            </a:r>
            <a:r>
              <a:rPr lang="ru-RU" dirty="0">
                <a:solidFill>
                  <a:schemeClr val="tx2"/>
                </a:solidFill>
                <a:latin typeface="Siemens Sans" panose="02020500000000000000" pitchFamily="18" charset="0"/>
              </a:rPr>
              <a:t> для железнодорожного транспорта</a:t>
            </a:r>
            <a:r>
              <a:rPr lang="de-DE" dirty="0">
                <a:solidFill>
                  <a:schemeClr val="tx2"/>
                </a:solidFill>
                <a:latin typeface="Siemens Sans" panose="02020500000000000000" pitchFamily="18" charset="0"/>
              </a:rPr>
              <a:t>.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Siemens 2020</a:t>
            </a:r>
          </a:p>
        </p:txBody>
      </p:sp>
      <p:pic>
        <p:nvPicPr>
          <p:cNvPr id="21" name="Grafik 20" descr="Ein Bild, das Gebäude, Tisch, Mann, Kuchen enthält.&#10;&#10;Automatisch generierte Beschreibung">
            <a:extLst>
              <a:ext uri="{FF2B5EF4-FFF2-40B4-BE49-F238E27FC236}">
                <a16:creationId xmlns:a16="http://schemas.microsoft.com/office/drawing/2014/main" id="{F0B69A18-B03F-43B3-A0B8-0E92A21CAA2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475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884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 descr="Ein Bild, das Person, draußen, Mann, stehend enthält.&#10;&#10;Automatisch generierte Beschreibung">
            <a:extLst>
              <a:ext uri="{FF2B5EF4-FFF2-40B4-BE49-F238E27FC236}">
                <a16:creationId xmlns:a16="http://schemas.microsoft.com/office/drawing/2014/main" id="{15F26D24-5CA3-44BC-9044-DBDBA4821A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837E94E-9F43-0243-A1AC-1DAD946E277D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D38B7C-8BF5-B945-B88B-44D46E12870F}"/>
              </a:ext>
            </a:extLst>
          </p:cNvPr>
          <p:cNvSpPr txBox="1"/>
          <p:nvPr/>
        </p:nvSpPr>
        <p:spPr>
          <a:xfrm>
            <a:off x="3941439" y="1935905"/>
            <a:ext cx="223164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Достижение</a:t>
            </a:r>
            <a: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 </a:t>
            </a:r>
            <a:r>
              <a:rPr lang="ru-RU" sz="2200" dirty="0">
                <a:solidFill>
                  <a:srgbClr val="00FFB9"/>
                </a:solidFill>
                <a:latin typeface="Siemens Sans Black" panose="02020500000000000000" pitchFamily="18" charset="0"/>
              </a:rPr>
              <a:t>высокой технической готовности</a:t>
            </a:r>
            <a: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 </a:t>
            </a:r>
            <a:b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</a:b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в</a:t>
            </a:r>
            <a: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масштабе всей системы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 Black" panose="02020500000000000000" pitchFamily="18" charset="0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7A4663D-AB13-9A47-9CB0-A2CCEC536A32}"/>
              </a:ext>
            </a:extLst>
          </p:cNvPr>
          <p:cNvSpPr txBox="1"/>
          <p:nvPr/>
        </p:nvSpPr>
        <p:spPr>
          <a:xfrm>
            <a:off x="6431256" y="1935905"/>
            <a:ext cx="246890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Повышение</a:t>
            </a:r>
            <a: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 </a:t>
            </a:r>
            <a:r>
              <a:rPr lang="ru-RU" sz="2200" dirty="0">
                <a:solidFill>
                  <a:srgbClr val="00FFB9"/>
                </a:solidFill>
                <a:latin typeface="Siemens Sans Black" panose="02020500000000000000" pitchFamily="18" charset="0"/>
              </a:rPr>
              <a:t>эффективности перевозочного процесса</a:t>
            </a:r>
            <a:b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</a:br>
            <a:r>
              <a:rPr lang="ru-RU" sz="2200" dirty="0">
                <a:solidFill>
                  <a:schemeClr val="bg1"/>
                </a:solidFill>
                <a:latin typeface="Siemens Sans Black" panose="02020500000000000000" pitchFamily="18" charset="0"/>
              </a:rPr>
              <a:t>и</a:t>
            </a:r>
            <a:r>
              <a:rPr kumimoji="0" lang="en-AU" sz="2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технического обслуживания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FFB9"/>
              </a:solidFill>
              <a:effectLst/>
              <a:uLnTx/>
              <a:uFillTx/>
              <a:latin typeface="Siemens Sans Black" panose="02020500000000000000" pitchFamily="18" charset="0"/>
              <a:ea typeface="+mn-ea"/>
              <a:cs typeface="+mn-cs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08B71C7-4EF6-3C42-A79E-E1F035667A5A}"/>
              </a:ext>
            </a:extLst>
          </p:cNvPr>
          <p:cNvSpPr txBox="1"/>
          <p:nvPr/>
        </p:nvSpPr>
        <p:spPr>
          <a:xfrm>
            <a:off x="9147485" y="1935905"/>
            <a:ext cx="246890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200" dirty="0">
                <a:solidFill>
                  <a:prstClr val="white"/>
                </a:solidFill>
                <a:latin typeface="Siemens Sans Black" panose="02020500000000000000" pitchFamily="18" charset="0"/>
              </a:rPr>
              <a:t>Защита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00FFB9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инвестиций</a:t>
            </a:r>
            <a:r>
              <a:rPr lang="ru-RU" sz="2200" dirty="0">
                <a:solidFill>
                  <a:prstClr val="white"/>
                </a:solidFill>
                <a:latin typeface="Siemens Sans Black" panose="02020500000000000000" pitchFamily="18" charset="0"/>
              </a:rPr>
              <a:t>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в условиях меняющейся экономической конъюнктуры 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 Black" panose="02020500000000000000" pitchFamily="18" charset="0"/>
              <a:ea typeface="+mn-ea"/>
              <a:cs typeface="+mn-cs"/>
            </a:endParaRPr>
          </a:p>
        </p:txBody>
      </p:sp>
      <p:sp>
        <p:nvSpPr>
          <p:cNvPr id="14" name="Slide Number Placeholder">
            <a:extLst>
              <a:ext uri="{FF2B5EF4-FFF2-40B4-BE49-F238E27FC236}">
                <a16:creationId xmlns:a16="http://schemas.microsoft.com/office/drawing/2014/main" id="{219A542F-7732-4C31-9779-BB4AE361C1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162" y="6310800"/>
            <a:ext cx="648000" cy="5472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prstClr val="white"/>
                </a:solidFill>
                <a:latin typeface="Arial"/>
              </a:rPr>
              <a:t>Стр.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Siemens Logo">
            <a:extLst>
              <a:ext uri="{FF2B5EF4-FFF2-40B4-BE49-F238E27FC236}">
                <a16:creationId xmlns:a16="http://schemas.microsoft.com/office/drawing/2014/main" id="{EB7AC68C-6441-47D9-A6B9-3EAAF572481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D25D95F-9A3B-4B3E-A029-31A881974A12}"/>
              </a:ext>
            </a:extLst>
          </p:cNvPr>
          <p:cNvSpPr txBox="1"/>
          <p:nvPr/>
        </p:nvSpPr>
        <p:spPr>
          <a:xfrm>
            <a:off x="505193" y="341574"/>
            <a:ext cx="104838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prstClr val="white"/>
                </a:solidFill>
                <a:latin typeface="Siemens Sans Black" panose="02020500000000000000" pitchFamily="18" charset="0"/>
              </a:rPr>
              <a:t>Для обеспечения комплексной безопасности движения необходимо найти решение для ключевых задач 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" panose="02020500000000000000" pitchFamily="18" charset="0"/>
              <a:ea typeface="+mn-ea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BF0AD92-6AF6-42D8-A659-12AC4D4BFE94}"/>
              </a:ext>
            </a:extLst>
          </p:cNvPr>
          <p:cNvSpPr/>
          <p:nvPr/>
        </p:nvSpPr>
        <p:spPr>
          <a:xfrm>
            <a:off x="415579" y="472453"/>
            <a:ext cx="36000" cy="731520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761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83C083C6-ACEF-4099-9EA2-953483DFAD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939742"/>
            <a:ext cx="12192000" cy="2543175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A5B3021-E29B-234D-9BB5-7C3C3806CC26}"/>
              </a:ext>
            </a:extLst>
          </p:cNvPr>
          <p:cNvSpPr/>
          <p:nvPr/>
        </p:nvSpPr>
        <p:spPr>
          <a:xfrm>
            <a:off x="9011477" y="1667089"/>
            <a:ext cx="2924959" cy="2571136"/>
          </a:xfrm>
          <a:prstGeom prst="rect">
            <a:avLst/>
          </a:prstGeom>
          <a:solidFill>
            <a:srgbClr val="00FFB9">
              <a:alpha val="1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682704F-240A-5C44-9C36-2C0EAA5A4913}"/>
              </a:ext>
            </a:extLst>
          </p:cNvPr>
          <p:cNvSpPr/>
          <p:nvPr/>
        </p:nvSpPr>
        <p:spPr>
          <a:xfrm>
            <a:off x="2695321" y="1691695"/>
            <a:ext cx="2401663" cy="2543175"/>
          </a:xfrm>
          <a:prstGeom prst="rect">
            <a:avLst/>
          </a:prstGeom>
          <a:solidFill>
            <a:srgbClr val="00FFB9">
              <a:alpha val="1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F549263A-328E-4646-A27F-FB228E44FB7A}"/>
              </a:ext>
            </a:extLst>
          </p:cNvPr>
          <p:cNvSpPr/>
          <p:nvPr/>
        </p:nvSpPr>
        <p:spPr>
          <a:xfrm>
            <a:off x="411162" y="1691695"/>
            <a:ext cx="2146287" cy="2543176"/>
          </a:xfrm>
          <a:prstGeom prst="rect">
            <a:avLst/>
          </a:prstGeom>
          <a:solidFill>
            <a:srgbClr val="00FFB9">
              <a:alpha val="1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8A2D6D-4BCB-D143-976B-4F212E9C98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© Siemens 202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7C9C29-BF7B-654C-9BF1-5C0C04586B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de-DE" noProof="0" dirty="0"/>
              <a:t> </a:t>
            </a:r>
            <a:fld id="{15EBE321-CBB1-4E91-BD14-37C8D44326FB}" type="slidenum">
              <a:rPr lang="de-DE" noProof="0" smtClean="0"/>
              <a:pPr/>
              <a:t>3</a:t>
            </a:fld>
            <a:endParaRPr lang="de-DE" noProof="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E1C842E-141D-7048-828B-B472E0C24247}"/>
              </a:ext>
            </a:extLst>
          </p:cNvPr>
          <p:cNvSpPr txBox="1"/>
          <p:nvPr/>
        </p:nvSpPr>
        <p:spPr>
          <a:xfrm>
            <a:off x="9207607" y="1779954"/>
            <a:ext cx="2579581" cy="23544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dirty="0">
                <a:latin typeface="Siemens Sans Black" panose="02020500000000000000" pitchFamily="18" charset="0"/>
              </a:rPr>
              <a:t>… </a:t>
            </a:r>
            <a:r>
              <a:rPr lang="ru-RU" dirty="0">
                <a:latin typeface="Siemens Sans Black" panose="02020500000000000000" pitchFamily="18" charset="0"/>
              </a:rPr>
              <a:t>и создают общую ценность за счет обмена:</a:t>
            </a:r>
            <a:endParaRPr lang="en-US" dirty="0">
              <a:latin typeface="Siemens Sans Black" panose="02020500000000000000" pitchFamily="18" charset="0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Процессами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Технологиями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Ноу-Хау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Цифровыми платформами</a:t>
            </a:r>
            <a:endParaRPr lang="en-US" dirty="0">
              <a:latin typeface="Siemens Sans" panose="02020500000000000000" pitchFamily="18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858828C-E560-984B-9C0A-1F7DA7D6FC5F}"/>
              </a:ext>
            </a:extLst>
          </p:cNvPr>
          <p:cNvSpPr txBox="1"/>
          <p:nvPr/>
        </p:nvSpPr>
        <p:spPr>
          <a:xfrm>
            <a:off x="5749015" y="1951333"/>
            <a:ext cx="2595399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000" dirty="0">
                <a:solidFill>
                  <a:srgbClr val="00FFB9"/>
                </a:solidFill>
                <a:latin typeface="Siemens Sans Black" panose="02020500000000000000" pitchFamily="18" charset="0"/>
              </a:rPr>
              <a:t>Альянс 100%</a:t>
            </a:r>
            <a:r>
              <a:rPr lang="en-US" sz="3000" dirty="0">
                <a:solidFill>
                  <a:srgbClr val="00FFB9"/>
                </a:solidFill>
                <a:latin typeface="Siemens Sans Black" panose="02020500000000000000" pitchFamily="18" charset="0"/>
              </a:rPr>
              <a:t> </a:t>
            </a:r>
            <a:r>
              <a:rPr lang="ru-RU" sz="3000" dirty="0">
                <a:solidFill>
                  <a:srgbClr val="00FFB9"/>
                </a:solidFill>
                <a:latin typeface="Siemens Sans Black" panose="02020500000000000000" pitchFamily="18" charset="0"/>
              </a:rPr>
              <a:t>технической</a:t>
            </a:r>
            <a:r>
              <a:rPr lang="en-US" sz="3000" dirty="0">
                <a:solidFill>
                  <a:srgbClr val="00FFB9"/>
                </a:solidFill>
                <a:latin typeface="Siemens Sans Black" panose="02020500000000000000" pitchFamily="18" charset="0"/>
              </a:rPr>
              <a:t> </a:t>
            </a:r>
            <a:br>
              <a:rPr lang="en-US" sz="3000" dirty="0">
                <a:solidFill>
                  <a:srgbClr val="00FFB9"/>
                </a:solidFill>
                <a:latin typeface="Siemens Sans Black" panose="02020500000000000000" pitchFamily="18" charset="0"/>
              </a:rPr>
            </a:br>
            <a:r>
              <a:rPr lang="ru-RU" sz="3000" dirty="0">
                <a:solidFill>
                  <a:srgbClr val="00FFB9"/>
                </a:solidFill>
                <a:latin typeface="Siemens Sans Black" panose="02020500000000000000" pitchFamily="18" charset="0"/>
              </a:rPr>
              <a:t>готовности</a:t>
            </a:r>
            <a:endParaRPr lang="en-US" sz="3000" dirty="0">
              <a:solidFill>
                <a:srgbClr val="00FFB9"/>
              </a:solidFill>
              <a:latin typeface="Siemens Sans Black" panose="02020500000000000000" pitchFamily="18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52E18B5-B9F4-5941-A9D2-7C0F0F4FE10D}"/>
              </a:ext>
            </a:extLst>
          </p:cNvPr>
          <p:cNvGrpSpPr/>
          <p:nvPr/>
        </p:nvGrpSpPr>
        <p:grpSpPr>
          <a:xfrm rot="16200000">
            <a:off x="5146860" y="2358117"/>
            <a:ext cx="500884" cy="417756"/>
            <a:chOff x="2779131" y="1893078"/>
            <a:chExt cx="500884" cy="41775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7E98604-8987-5C47-B44B-DCC70ABAB6BB}"/>
                </a:ext>
              </a:extLst>
            </p:cNvPr>
            <p:cNvSpPr/>
            <p:nvPr/>
          </p:nvSpPr>
          <p:spPr>
            <a:xfrm rot="18900000">
              <a:off x="2779131" y="1893078"/>
              <a:ext cx="45719" cy="417756"/>
            </a:xfrm>
            <a:prstGeom prst="rect">
              <a:avLst/>
            </a:prstGeom>
            <a:gradFill flip="none" rotWithShape="1">
              <a:gsLst>
                <a:gs pos="0">
                  <a:srgbClr val="00FFB9"/>
                </a:gs>
                <a:gs pos="100000">
                  <a:srgbClr val="00E6DC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C1EF0BF-C215-754A-80AD-ED9B80B0E965}"/>
                </a:ext>
              </a:extLst>
            </p:cNvPr>
            <p:cNvSpPr/>
            <p:nvPr/>
          </p:nvSpPr>
          <p:spPr>
            <a:xfrm rot="2700000">
              <a:off x="3049280" y="1894788"/>
              <a:ext cx="45719" cy="415751"/>
            </a:xfrm>
            <a:prstGeom prst="rect">
              <a:avLst/>
            </a:prstGeom>
            <a:gradFill flip="none" rotWithShape="1">
              <a:gsLst>
                <a:gs pos="0">
                  <a:srgbClr val="00FFB9"/>
                </a:gs>
                <a:gs pos="100000">
                  <a:srgbClr val="00E6DC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578FA9C-5D1D-ED44-8B16-6E4C76E73B69}"/>
              </a:ext>
            </a:extLst>
          </p:cNvPr>
          <p:cNvGrpSpPr/>
          <p:nvPr/>
        </p:nvGrpSpPr>
        <p:grpSpPr>
          <a:xfrm rot="16200000">
            <a:off x="8379763" y="2337353"/>
            <a:ext cx="500884" cy="417756"/>
            <a:chOff x="2779131" y="1474623"/>
            <a:chExt cx="500884" cy="41775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F45503F-AD78-4544-9030-FA4AD7E2268E}"/>
                </a:ext>
              </a:extLst>
            </p:cNvPr>
            <p:cNvSpPr/>
            <p:nvPr/>
          </p:nvSpPr>
          <p:spPr>
            <a:xfrm rot="18900000">
              <a:off x="2779131" y="1474623"/>
              <a:ext cx="45719" cy="417756"/>
            </a:xfrm>
            <a:prstGeom prst="rect">
              <a:avLst/>
            </a:prstGeom>
            <a:gradFill flip="none" rotWithShape="1">
              <a:gsLst>
                <a:gs pos="0">
                  <a:srgbClr val="00FFB9"/>
                </a:gs>
                <a:gs pos="100000">
                  <a:srgbClr val="00E6DC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0E79800-F51E-DB40-ADC3-6A3CFCEAAFCB}"/>
                </a:ext>
              </a:extLst>
            </p:cNvPr>
            <p:cNvSpPr/>
            <p:nvPr/>
          </p:nvSpPr>
          <p:spPr>
            <a:xfrm rot="2700000">
              <a:off x="3049280" y="1476333"/>
              <a:ext cx="45719" cy="415751"/>
            </a:xfrm>
            <a:prstGeom prst="rect">
              <a:avLst/>
            </a:prstGeom>
            <a:gradFill flip="none" rotWithShape="1">
              <a:gsLst>
                <a:gs pos="0">
                  <a:srgbClr val="00FFB9"/>
                </a:gs>
                <a:gs pos="100000">
                  <a:srgbClr val="00E6DC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FFDC0A95-0627-2D4A-B162-514EDD68AF6E}"/>
              </a:ext>
            </a:extLst>
          </p:cNvPr>
          <p:cNvSpPr txBox="1"/>
          <p:nvPr/>
        </p:nvSpPr>
        <p:spPr>
          <a:xfrm>
            <a:off x="529069" y="1779954"/>
            <a:ext cx="1992886" cy="20774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Siemens Sans Black" panose="02020500000000000000" pitchFamily="18" charset="0"/>
              </a:rPr>
              <a:t>Ключевые</a:t>
            </a:r>
            <a:r>
              <a:rPr lang="en-US" dirty="0">
                <a:latin typeface="Siemens Sans Black" panose="02020500000000000000" pitchFamily="18" charset="0"/>
              </a:rPr>
              <a:t> </a:t>
            </a:r>
            <a:r>
              <a:rPr lang="ru-RU" dirty="0">
                <a:latin typeface="Siemens Sans Black" panose="02020500000000000000" pitchFamily="18" charset="0"/>
              </a:rPr>
              <a:t>участники</a:t>
            </a:r>
            <a:r>
              <a:rPr lang="en-US" dirty="0">
                <a:latin typeface="Siemens Sans Black" panose="02020500000000000000" pitchFamily="18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Производители</a:t>
            </a:r>
            <a:r>
              <a:rPr lang="en-US" dirty="0">
                <a:latin typeface="Siemens Sans" panose="02020500000000000000" pitchFamily="18" charset="0"/>
              </a:rPr>
              <a:t>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Поставщики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Перевозчики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Партнеры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ВУЗы</a:t>
            </a:r>
            <a:endParaRPr lang="en-US" dirty="0">
              <a:latin typeface="Siemens Sans" panose="02020500000000000000" pitchFamily="18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CB099C0-5EC7-EA44-ABD1-3A9B69033DE0}"/>
              </a:ext>
            </a:extLst>
          </p:cNvPr>
          <p:cNvSpPr txBox="1"/>
          <p:nvPr/>
        </p:nvSpPr>
        <p:spPr>
          <a:xfrm>
            <a:off x="2767697" y="1779954"/>
            <a:ext cx="2176252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>
                <a:latin typeface="Siemens Sans Black" panose="02020500000000000000" pitchFamily="18" charset="0"/>
              </a:rPr>
              <a:t>… </a:t>
            </a:r>
            <a:r>
              <a:rPr lang="ru-RU" dirty="0">
                <a:latin typeface="Siemens Sans Black" panose="02020500000000000000" pitchFamily="18" charset="0"/>
              </a:rPr>
              <a:t>вносят свой вклад в виде</a:t>
            </a:r>
            <a:r>
              <a:rPr lang="en-US" dirty="0">
                <a:latin typeface="Siemens Sans Black" panose="02020500000000000000" pitchFamily="18" charset="0"/>
              </a:rPr>
              <a:t>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Навыков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Знаний</a:t>
            </a:r>
            <a:endParaRPr lang="en-US" dirty="0">
              <a:latin typeface="Siemens Sans" panose="02020500000000000000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Siemens Sans" panose="02020500000000000000" pitchFamily="18" charset="0"/>
              </a:rPr>
              <a:t>Инноваций</a:t>
            </a:r>
            <a:endParaRPr lang="en-US" dirty="0">
              <a:latin typeface="Siemens Sans" panose="02020500000000000000" pitchFamily="18" charset="0"/>
            </a:endParaRPr>
          </a:p>
        </p:txBody>
      </p:sp>
      <p:pic>
        <p:nvPicPr>
          <p:cNvPr id="18" name="Siemens Logo">
            <a:extLst>
              <a:ext uri="{FF2B5EF4-FFF2-40B4-BE49-F238E27FC236}">
                <a16:creationId xmlns:a16="http://schemas.microsoft.com/office/drawing/2014/main" id="{E7BA006D-7621-4A3A-BA32-D75205BB9FF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3" name="Rechteck 5">
            <a:extLst>
              <a:ext uri="{FF2B5EF4-FFF2-40B4-BE49-F238E27FC236}">
                <a16:creationId xmlns:a16="http://schemas.microsoft.com/office/drawing/2014/main" id="{E64C86FA-9667-40A8-AE9E-947903230678}"/>
              </a:ext>
            </a:extLst>
          </p:cNvPr>
          <p:cNvSpPr/>
          <p:nvPr/>
        </p:nvSpPr>
        <p:spPr>
          <a:xfrm>
            <a:off x="428331" y="392354"/>
            <a:ext cx="36000" cy="684000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6">
            <a:extLst>
              <a:ext uri="{FF2B5EF4-FFF2-40B4-BE49-F238E27FC236}">
                <a16:creationId xmlns:a16="http://schemas.microsoft.com/office/drawing/2014/main" id="{E82BEA4B-29A2-4A30-A482-A55D15C63A23}"/>
              </a:ext>
            </a:extLst>
          </p:cNvPr>
          <p:cNvSpPr txBox="1"/>
          <p:nvPr/>
        </p:nvSpPr>
        <p:spPr>
          <a:xfrm>
            <a:off x="505193" y="247088"/>
            <a:ext cx="1082366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prstClr val="white"/>
                </a:solidFill>
                <a:latin typeface="Siemens Sans Black" panose="02020500000000000000" pitchFamily="18" charset="0"/>
              </a:rPr>
              <a:t>Новый подход к решению задачи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: 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iemens Sans Black" panose="02020500000000000000" pitchFamily="18" charset="0"/>
                <a:ea typeface="+mn-ea"/>
                <a:cs typeface="+mn-cs"/>
              </a:rPr>
              <a:t>Масштабное коллективное </a:t>
            </a:r>
            <a:r>
              <a:rPr lang="ru-RU" sz="2800" dirty="0">
                <a:solidFill>
                  <a:prstClr val="white"/>
                </a:solidFill>
                <a:latin typeface="Siemens Sans Black" panose="02020500000000000000" pitchFamily="18" charset="0"/>
              </a:rPr>
              <a:t>взаимодействие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" panose="02020500000000000000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7698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9052C4-D001-4B5C-A641-84F9314D8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78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9052C4-D001-4B5C-A641-84F9314D8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DCC5616-0F84-4CB8-BD08-DF501F5C47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defRPr/>
            </a:pPr>
            <a:endParaRPr lang="ru-RU" sz="2800" b="1" strike="noStrike" kern="1200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iemens Sans Black" pitchFamily="2" charset="0"/>
              <a:ea typeface="+mj-ea"/>
              <a:cs typeface="+mj-cs"/>
              <a:sym typeface="Siemens Sans Black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CCE2C0-7CCE-45B0-AA17-736822DEB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1781600" cy="576000"/>
          </a:xfrm>
        </p:spPr>
        <p:txBody>
          <a:bodyPr/>
          <a:lstStyle/>
          <a:p>
            <a:r>
              <a:rPr lang="ru-RU" sz="2800" dirty="0">
                <a:latin typeface="Siemens Sans Black" pitchFamily="2" charset="0"/>
              </a:rPr>
              <a:t>«Альянс</a:t>
            </a:r>
            <a:r>
              <a:rPr lang="en-GB" sz="2800" dirty="0">
                <a:latin typeface="Siemens Sans Black" pitchFamily="2" charset="0"/>
              </a:rPr>
              <a:t> </a:t>
            </a:r>
            <a:r>
              <a:rPr lang="ru-RU" sz="2800" dirty="0">
                <a:latin typeface="Siemens Sans Black" pitchFamily="2" charset="0"/>
              </a:rPr>
              <a:t>100% технической готовности» </a:t>
            </a:r>
            <a:r>
              <a:rPr lang="en-GB" sz="2800" dirty="0">
                <a:latin typeface="Siemens Sans Black" pitchFamily="2" charset="0"/>
              </a:rPr>
              <a:t>– </a:t>
            </a:r>
            <a:br>
              <a:rPr lang="en-GB" sz="2800" dirty="0">
                <a:latin typeface="Siemens Sans Black" pitchFamily="2" charset="0"/>
              </a:rPr>
            </a:br>
            <a:r>
              <a:rPr lang="ru-RU" sz="2800" dirty="0">
                <a:latin typeface="Siemens Sans Black" pitchFamily="2" charset="0"/>
              </a:rPr>
              <a:t>открытая экосистема на основе</a:t>
            </a:r>
            <a:r>
              <a:rPr lang="de-DE" sz="2800" dirty="0">
                <a:latin typeface="Siemens Sans Black" pitchFamily="2" charset="0"/>
              </a:rPr>
              <a:t> </a:t>
            </a:r>
            <a:r>
              <a:rPr lang="ru-RU" sz="2800" dirty="0">
                <a:latin typeface="Siemens Sans Black" pitchFamily="2" charset="0"/>
              </a:rPr>
              <a:t>цифровых технологий </a:t>
            </a:r>
            <a:endParaRPr lang="en-GB" sz="2800" b="0" dirty="0">
              <a:latin typeface="Siemens Sans Black" pitchFamily="2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E0DD62-C674-4F78-BBB7-F013A9B52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000000"/>
                </a:solidFill>
                <a:latin typeface="Arial"/>
              </a:rPr>
              <a:t>Стр.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14224D2D-06D4-4EA4-852A-4A5C9DB867F1}"/>
              </a:ext>
            </a:extLst>
          </p:cNvPr>
          <p:cNvSpPr>
            <a:spLocks/>
          </p:cNvSpPr>
          <p:nvPr/>
        </p:nvSpPr>
        <p:spPr bwMode="gray">
          <a:xfrm>
            <a:off x="4138662" y="5658022"/>
            <a:ext cx="276198" cy="433454"/>
          </a:xfrm>
          <a:custGeom>
            <a:avLst/>
            <a:gdLst>
              <a:gd name="connsiteX0" fmla="*/ 1581857 w 1617216"/>
              <a:gd name="connsiteY0" fmla="*/ 805021 h 2537999"/>
              <a:gd name="connsiteX1" fmla="*/ 1336017 w 1617216"/>
              <a:gd name="connsiteY1" fmla="*/ 143986 h 2537999"/>
              <a:gd name="connsiteX2" fmla="*/ 808522 w 1617216"/>
              <a:gd name="connsiteY2" fmla="*/ 63 h 2537999"/>
              <a:gd name="connsiteX3" fmla="*/ 281028 w 1617216"/>
              <a:gd name="connsiteY3" fmla="*/ 143986 h 2537999"/>
              <a:gd name="connsiteX4" fmla="*/ 35188 w 1617216"/>
              <a:gd name="connsiteY4" fmla="*/ 805021 h 2537999"/>
              <a:gd name="connsiteX5" fmla="*/ 135 w 1617216"/>
              <a:gd name="connsiteY5" fmla="*/ 1191736 h 2537999"/>
              <a:gd name="connsiteX6" fmla="*/ 50237 w 1617216"/>
              <a:gd name="connsiteY6" fmla="*/ 1954117 h 2537999"/>
              <a:gd name="connsiteX7" fmla="*/ 236641 w 1617216"/>
              <a:gd name="connsiteY7" fmla="*/ 2146427 h 2537999"/>
              <a:gd name="connsiteX8" fmla="*/ 807665 w 1617216"/>
              <a:gd name="connsiteY8" fmla="*/ 2146427 h 2537999"/>
              <a:gd name="connsiteX9" fmla="*/ 809666 w 1617216"/>
              <a:gd name="connsiteY9" fmla="*/ 2146427 h 2537999"/>
              <a:gd name="connsiteX10" fmla="*/ 1380689 w 1617216"/>
              <a:gd name="connsiteY10" fmla="*/ 2146427 h 2537999"/>
              <a:gd name="connsiteX11" fmla="*/ 1567093 w 1617216"/>
              <a:gd name="connsiteY11" fmla="*/ 1954117 h 2537999"/>
              <a:gd name="connsiteX12" fmla="*/ 1617195 w 1617216"/>
              <a:gd name="connsiteY12" fmla="*/ 1191736 h 2537999"/>
              <a:gd name="connsiteX13" fmla="*/ 1581857 w 1617216"/>
              <a:gd name="connsiteY13" fmla="*/ 805021 h 2537999"/>
              <a:gd name="connsiteX14" fmla="*/ 270836 w 1617216"/>
              <a:gd name="connsiteY14" fmla="*/ 1566068 h 2537999"/>
              <a:gd name="connsiteX15" fmla="*/ 174443 w 1617216"/>
              <a:gd name="connsiteY15" fmla="*/ 1236122 h 2537999"/>
              <a:gd name="connsiteX16" fmla="*/ 192922 w 1617216"/>
              <a:gd name="connsiteY16" fmla="*/ 1197070 h 2537999"/>
              <a:gd name="connsiteX17" fmla="*/ 211114 w 1617216"/>
              <a:gd name="connsiteY17" fmla="*/ 1187354 h 2537999"/>
              <a:gd name="connsiteX18" fmla="*/ 225402 w 1617216"/>
              <a:gd name="connsiteY18" fmla="*/ 1185164 h 2537999"/>
              <a:gd name="connsiteX19" fmla="*/ 330367 w 1617216"/>
              <a:gd name="connsiteY19" fmla="*/ 1185164 h 2537999"/>
              <a:gd name="connsiteX20" fmla="*/ 428379 w 1617216"/>
              <a:gd name="connsiteY20" fmla="*/ 1324991 h 2537999"/>
              <a:gd name="connsiteX21" fmla="*/ 503532 w 1617216"/>
              <a:gd name="connsiteY21" fmla="*/ 1566068 h 2537999"/>
              <a:gd name="connsiteX22" fmla="*/ 270836 w 1617216"/>
              <a:gd name="connsiteY22" fmla="*/ 1566068 h 2537999"/>
              <a:gd name="connsiteX23" fmla="*/ 1345828 w 1617216"/>
              <a:gd name="connsiteY23" fmla="*/ 1566068 h 2537999"/>
              <a:gd name="connsiteX24" fmla="*/ 1113037 w 1617216"/>
              <a:gd name="connsiteY24" fmla="*/ 1566068 h 2537999"/>
              <a:gd name="connsiteX25" fmla="*/ 1188189 w 1617216"/>
              <a:gd name="connsiteY25" fmla="*/ 1324991 h 2537999"/>
              <a:gd name="connsiteX26" fmla="*/ 1286201 w 1617216"/>
              <a:gd name="connsiteY26" fmla="*/ 1185164 h 2537999"/>
              <a:gd name="connsiteX27" fmla="*/ 1391167 w 1617216"/>
              <a:gd name="connsiteY27" fmla="*/ 1185164 h 2537999"/>
              <a:gd name="connsiteX28" fmla="*/ 1405835 w 1617216"/>
              <a:gd name="connsiteY28" fmla="*/ 1187450 h 2537999"/>
              <a:gd name="connsiteX29" fmla="*/ 1424313 w 1617216"/>
              <a:gd name="connsiteY29" fmla="*/ 1197641 h 2537999"/>
              <a:gd name="connsiteX30" fmla="*/ 1442221 w 1617216"/>
              <a:gd name="connsiteY30" fmla="*/ 1236122 h 2537999"/>
              <a:gd name="connsiteX31" fmla="*/ 1345828 w 1617216"/>
              <a:gd name="connsiteY31" fmla="*/ 1566068 h 2537999"/>
              <a:gd name="connsiteX32" fmla="*/ 808427 w 1617216"/>
              <a:gd name="connsiteY32" fmla="*/ 948277 h 2537999"/>
              <a:gd name="connsiteX33" fmla="*/ 155393 w 1617216"/>
              <a:gd name="connsiteY33" fmla="*/ 899318 h 2537999"/>
              <a:gd name="connsiteX34" fmla="*/ 290934 w 1617216"/>
              <a:gd name="connsiteY34" fmla="*/ 415925 h 2537999"/>
              <a:gd name="connsiteX35" fmla="*/ 354942 w 1617216"/>
              <a:gd name="connsiteY35" fmla="*/ 378110 h 2537999"/>
              <a:gd name="connsiteX36" fmla="*/ 807474 w 1617216"/>
              <a:gd name="connsiteY36" fmla="*/ 378110 h 2537999"/>
              <a:gd name="connsiteX37" fmla="*/ 809475 w 1617216"/>
              <a:gd name="connsiteY37" fmla="*/ 378110 h 2537999"/>
              <a:gd name="connsiteX38" fmla="*/ 1262008 w 1617216"/>
              <a:gd name="connsiteY38" fmla="*/ 378110 h 2537999"/>
              <a:gd name="connsiteX39" fmla="*/ 1326015 w 1617216"/>
              <a:gd name="connsiteY39" fmla="*/ 415925 h 2537999"/>
              <a:gd name="connsiteX40" fmla="*/ 1461557 w 1617216"/>
              <a:gd name="connsiteY40" fmla="*/ 899318 h 2537999"/>
              <a:gd name="connsiteX41" fmla="*/ 808427 w 1617216"/>
              <a:gd name="connsiteY41" fmla="*/ 948277 h 2537999"/>
              <a:gd name="connsiteX42" fmla="*/ 1402406 w 1617216"/>
              <a:gd name="connsiteY42" fmla="*/ 2308542 h 2537999"/>
              <a:gd name="connsiteX43" fmla="*/ 214448 w 1617216"/>
              <a:gd name="connsiteY43" fmla="*/ 2308542 h 2537999"/>
              <a:gd name="connsiteX44" fmla="*/ 253786 w 1617216"/>
              <a:gd name="connsiteY44" fmla="*/ 2214054 h 2537999"/>
              <a:gd name="connsiteX45" fmla="*/ 1363068 w 1617216"/>
              <a:gd name="connsiteY45" fmla="*/ 2214054 h 2537999"/>
              <a:gd name="connsiteX46" fmla="*/ 1402406 w 1617216"/>
              <a:gd name="connsiteY46" fmla="*/ 2308542 h 2537999"/>
              <a:gd name="connsiteX47" fmla="*/ 330558 w 1617216"/>
              <a:gd name="connsiteY47" fmla="*/ 2375979 h 2537999"/>
              <a:gd name="connsiteX48" fmla="*/ 456764 w 1617216"/>
              <a:gd name="connsiteY48" fmla="*/ 2375979 h 2537999"/>
              <a:gd name="connsiteX49" fmla="*/ 340178 w 1617216"/>
              <a:gd name="connsiteY49" fmla="*/ 2537999 h 2537999"/>
              <a:gd name="connsiteX50" fmla="*/ 213972 w 1617216"/>
              <a:gd name="connsiteY50" fmla="*/ 2537999 h 2537999"/>
              <a:gd name="connsiteX51" fmla="*/ 330558 w 1617216"/>
              <a:gd name="connsiteY51" fmla="*/ 2375979 h 2537999"/>
              <a:gd name="connsiteX52" fmla="*/ 1160090 w 1617216"/>
              <a:gd name="connsiteY52" fmla="*/ 2375979 h 2537999"/>
              <a:gd name="connsiteX53" fmla="*/ 1286296 w 1617216"/>
              <a:gd name="connsiteY53" fmla="*/ 2375979 h 2537999"/>
              <a:gd name="connsiteX54" fmla="*/ 1402882 w 1617216"/>
              <a:gd name="connsiteY54" fmla="*/ 2537999 h 2537999"/>
              <a:gd name="connsiteX55" fmla="*/ 1276676 w 1617216"/>
              <a:gd name="connsiteY55" fmla="*/ 2537999 h 2537999"/>
              <a:gd name="connsiteX56" fmla="*/ 1160090 w 1617216"/>
              <a:gd name="connsiteY56" fmla="*/ 2375979 h 253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617216" h="2537999">
                <a:moveTo>
                  <a:pt x="1581857" y="805021"/>
                </a:moveTo>
                <a:cubicBezTo>
                  <a:pt x="1581857" y="805021"/>
                  <a:pt x="1465652" y="316293"/>
                  <a:pt x="1336017" y="143986"/>
                </a:cubicBezTo>
                <a:cubicBezTo>
                  <a:pt x="1231623" y="5111"/>
                  <a:pt x="894438" y="-794"/>
                  <a:pt x="808522" y="63"/>
                </a:cubicBezTo>
                <a:cubicBezTo>
                  <a:pt x="722512" y="-794"/>
                  <a:pt x="385422" y="5111"/>
                  <a:pt x="281028" y="143986"/>
                </a:cubicBezTo>
                <a:cubicBezTo>
                  <a:pt x="151392" y="316293"/>
                  <a:pt x="35188" y="805021"/>
                  <a:pt x="35188" y="805021"/>
                </a:cubicBezTo>
                <a:cubicBezTo>
                  <a:pt x="-3674" y="941133"/>
                  <a:pt x="40" y="1042765"/>
                  <a:pt x="135" y="1191736"/>
                </a:cubicBezTo>
                <a:lnTo>
                  <a:pt x="50237" y="1954117"/>
                </a:lnTo>
                <a:cubicBezTo>
                  <a:pt x="57857" y="2070227"/>
                  <a:pt x="131199" y="2146427"/>
                  <a:pt x="236641" y="2146427"/>
                </a:cubicBezTo>
                <a:lnTo>
                  <a:pt x="807665" y="2146427"/>
                </a:lnTo>
                <a:lnTo>
                  <a:pt x="809666" y="2146427"/>
                </a:lnTo>
                <a:lnTo>
                  <a:pt x="1380689" y="2146427"/>
                </a:lnTo>
                <a:cubicBezTo>
                  <a:pt x="1486131" y="2146427"/>
                  <a:pt x="1559473" y="2070227"/>
                  <a:pt x="1567093" y="1954117"/>
                </a:cubicBezTo>
                <a:lnTo>
                  <a:pt x="1617195" y="1191736"/>
                </a:lnTo>
                <a:cubicBezTo>
                  <a:pt x="1617004" y="1042765"/>
                  <a:pt x="1620719" y="941133"/>
                  <a:pt x="1581857" y="805021"/>
                </a:cubicBezTo>
                <a:close/>
                <a:moveTo>
                  <a:pt x="270836" y="1566068"/>
                </a:moveTo>
                <a:cubicBezTo>
                  <a:pt x="270836" y="1566068"/>
                  <a:pt x="174443" y="1259554"/>
                  <a:pt x="174443" y="1236122"/>
                </a:cubicBezTo>
                <a:cubicBezTo>
                  <a:pt x="174443" y="1215072"/>
                  <a:pt x="181206" y="1206881"/>
                  <a:pt x="192922" y="1197070"/>
                </a:cubicBezTo>
                <a:cubicBezTo>
                  <a:pt x="197303" y="1192879"/>
                  <a:pt x="203684" y="1189450"/>
                  <a:pt x="211114" y="1187354"/>
                </a:cubicBezTo>
                <a:cubicBezTo>
                  <a:pt x="215972" y="1185926"/>
                  <a:pt x="220735" y="1185164"/>
                  <a:pt x="225402" y="1185164"/>
                </a:cubicBezTo>
                <a:cubicBezTo>
                  <a:pt x="225402" y="1185164"/>
                  <a:pt x="328653" y="1185164"/>
                  <a:pt x="330367" y="1185164"/>
                </a:cubicBezTo>
                <a:cubicBezTo>
                  <a:pt x="387994" y="1185926"/>
                  <a:pt x="392661" y="1201737"/>
                  <a:pt x="428379" y="1324991"/>
                </a:cubicBezTo>
                <a:cubicBezTo>
                  <a:pt x="443619" y="1377569"/>
                  <a:pt x="503532" y="1566068"/>
                  <a:pt x="503532" y="1566068"/>
                </a:cubicBezTo>
                <a:lnTo>
                  <a:pt x="270836" y="1566068"/>
                </a:lnTo>
                <a:close/>
                <a:moveTo>
                  <a:pt x="1345828" y="1566068"/>
                </a:moveTo>
                <a:lnTo>
                  <a:pt x="1113037" y="1566068"/>
                </a:lnTo>
                <a:cubicBezTo>
                  <a:pt x="1113037" y="1566068"/>
                  <a:pt x="1172949" y="1377569"/>
                  <a:pt x="1188189" y="1324991"/>
                </a:cubicBezTo>
                <a:cubicBezTo>
                  <a:pt x="1224003" y="1201737"/>
                  <a:pt x="1228575" y="1185926"/>
                  <a:pt x="1286201" y="1185164"/>
                </a:cubicBezTo>
                <a:cubicBezTo>
                  <a:pt x="1287915" y="1185164"/>
                  <a:pt x="1391167" y="1185164"/>
                  <a:pt x="1391167" y="1185164"/>
                </a:cubicBezTo>
                <a:cubicBezTo>
                  <a:pt x="1395834" y="1185164"/>
                  <a:pt x="1400596" y="1185926"/>
                  <a:pt x="1405835" y="1187450"/>
                </a:cubicBezTo>
                <a:cubicBezTo>
                  <a:pt x="1412979" y="1189355"/>
                  <a:pt x="1419266" y="1192784"/>
                  <a:pt x="1424313" y="1197641"/>
                </a:cubicBezTo>
                <a:cubicBezTo>
                  <a:pt x="1435458" y="1206881"/>
                  <a:pt x="1442221" y="1215072"/>
                  <a:pt x="1442221" y="1236122"/>
                </a:cubicBezTo>
                <a:cubicBezTo>
                  <a:pt x="1442221" y="1259554"/>
                  <a:pt x="1345828" y="1566068"/>
                  <a:pt x="1345828" y="1566068"/>
                </a:cubicBezTo>
                <a:close/>
                <a:moveTo>
                  <a:pt x="808427" y="948277"/>
                </a:moveTo>
                <a:lnTo>
                  <a:pt x="155393" y="899318"/>
                </a:lnTo>
                <a:lnTo>
                  <a:pt x="290934" y="415925"/>
                </a:lnTo>
                <a:cubicBezTo>
                  <a:pt x="302173" y="390588"/>
                  <a:pt x="324652" y="378301"/>
                  <a:pt x="354942" y="378110"/>
                </a:cubicBezTo>
                <a:lnTo>
                  <a:pt x="807474" y="378110"/>
                </a:lnTo>
                <a:lnTo>
                  <a:pt x="809475" y="378110"/>
                </a:lnTo>
                <a:lnTo>
                  <a:pt x="1262008" y="378110"/>
                </a:lnTo>
                <a:cubicBezTo>
                  <a:pt x="1292297" y="378301"/>
                  <a:pt x="1314776" y="390588"/>
                  <a:pt x="1326015" y="415925"/>
                </a:cubicBezTo>
                <a:lnTo>
                  <a:pt x="1461557" y="899318"/>
                </a:lnTo>
                <a:lnTo>
                  <a:pt x="808427" y="948277"/>
                </a:lnTo>
                <a:close/>
                <a:moveTo>
                  <a:pt x="1402406" y="2308542"/>
                </a:moveTo>
                <a:lnTo>
                  <a:pt x="214448" y="2308542"/>
                </a:lnTo>
                <a:lnTo>
                  <a:pt x="253786" y="2214054"/>
                </a:lnTo>
                <a:lnTo>
                  <a:pt x="1363068" y="2214054"/>
                </a:lnTo>
                <a:lnTo>
                  <a:pt x="1402406" y="2308542"/>
                </a:lnTo>
                <a:close/>
                <a:moveTo>
                  <a:pt x="330558" y="2375979"/>
                </a:moveTo>
                <a:lnTo>
                  <a:pt x="456764" y="2375979"/>
                </a:lnTo>
                <a:lnTo>
                  <a:pt x="340178" y="2537999"/>
                </a:lnTo>
                <a:lnTo>
                  <a:pt x="213972" y="2537999"/>
                </a:lnTo>
                <a:lnTo>
                  <a:pt x="330558" y="2375979"/>
                </a:lnTo>
                <a:close/>
                <a:moveTo>
                  <a:pt x="1160090" y="2375979"/>
                </a:moveTo>
                <a:lnTo>
                  <a:pt x="1286296" y="2375979"/>
                </a:lnTo>
                <a:lnTo>
                  <a:pt x="1402882" y="2537999"/>
                </a:lnTo>
                <a:lnTo>
                  <a:pt x="1276676" y="2537999"/>
                </a:lnTo>
                <a:lnTo>
                  <a:pt x="1160090" y="2375979"/>
                </a:ln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9709DF5D-7D1C-403A-8EBE-29AE64C0CE98}"/>
              </a:ext>
            </a:extLst>
          </p:cNvPr>
          <p:cNvSpPr>
            <a:spLocks noEditPoints="1"/>
          </p:cNvSpPr>
          <p:nvPr/>
        </p:nvSpPr>
        <p:spPr bwMode="gray">
          <a:xfrm>
            <a:off x="5785340" y="5659498"/>
            <a:ext cx="437359" cy="447299"/>
          </a:xfrm>
          <a:custGeom>
            <a:avLst/>
            <a:gdLst>
              <a:gd name="T0" fmla="*/ 673 w 1043"/>
              <a:gd name="T1" fmla="*/ 313 h 1066"/>
              <a:gd name="T2" fmla="*/ 736 w 1043"/>
              <a:gd name="T3" fmla="*/ 65 h 1066"/>
              <a:gd name="T4" fmla="*/ 359 w 1043"/>
              <a:gd name="T5" fmla="*/ 65 h 1066"/>
              <a:gd name="T6" fmla="*/ 359 w 1043"/>
              <a:gd name="T7" fmla="*/ 313 h 1066"/>
              <a:gd name="T8" fmla="*/ 513 w 1043"/>
              <a:gd name="T9" fmla="*/ 501 h 1066"/>
              <a:gd name="T10" fmla="*/ 636 w 1043"/>
              <a:gd name="T11" fmla="*/ 726 h 1066"/>
              <a:gd name="T12" fmla="*/ 598 w 1043"/>
              <a:gd name="T13" fmla="*/ 917 h 1066"/>
              <a:gd name="T14" fmla="*/ 736 w 1043"/>
              <a:gd name="T15" fmla="*/ 980 h 1066"/>
              <a:gd name="T16" fmla="*/ 699 w 1043"/>
              <a:gd name="T17" fmla="*/ 729 h 1066"/>
              <a:gd name="T18" fmla="*/ 673 w 1043"/>
              <a:gd name="T19" fmla="*/ 128 h 1066"/>
              <a:gd name="T20" fmla="*/ 478 w 1043"/>
              <a:gd name="T21" fmla="*/ 439 h 1066"/>
              <a:gd name="T22" fmla="*/ 582 w 1043"/>
              <a:gd name="T23" fmla="*/ 376 h 1066"/>
              <a:gd name="T24" fmla="*/ 692 w 1043"/>
              <a:gd name="T25" fmla="*/ 564 h 1066"/>
              <a:gd name="T26" fmla="*/ 359 w 1043"/>
              <a:gd name="T27" fmla="*/ 729 h 1066"/>
              <a:gd name="T28" fmla="*/ 275 w 1043"/>
              <a:gd name="T29" fmla="*/ 455 h 1066"/>
              <a:gd name="T30" fmla="*/ 611 w 1043"/>
              <a:gd name="T31" fmla="*/ 733 h 1066"/>
              <a:gd name="T32" fmla="*/ 607 w 1043"/>
              <a:gd name="T33" fmla="*/ 704 h 1066"/>
              <a:gd name="T34" fmla="*/ 601 w 1043"/>
              <a:gd name="T35" fmla="*/ 678 h 1066"/>
              <a:gd name="T36" fmla="*/ 596 w 1043"/>
              <a:gd name="T37" fmla="*/ 661 h 1066"/>
              <a:gd name="T38" fmla="*/ 579 w 1043"/>
              <a:gd name="T39" fmla="*/ 621 h 1066"/>
              <a:gd name="T40" fmla="*/ 555 w 1043"/>
              <a:gd name="T41" fmla="*/ 582 h 1066"/>
              <a:gd name="T42" fmla="*/ 528 w 1043"/>
              <a:gd name="T43" fmla="*/ 549 h 1066"/>
              <a:gd name="T44" fmla="*/ 499 w 1043"/>
              <a:gd name="T45" fmla="*/ 522 h 1066"/>
              <a:gd name="T46" fmla="*/ 466 w 1043"/>
              <a:gd name="T47" fmla="*/ 499 h 1066"/>
              <a:gd name="T48" fmla="*/ 423 w 1043"/>
              <a:gd name="T49" fmla="*/ 477 h 1066"/>
              <a:gd name="T50" fmla="*/ 401 w 1043"/>
              <a:gd name="T51" fmla="*/ 469 h 1066"/>
              <a:gd name="T52" fmla="*/ 368 w 1043"/>
              <a:gd name="T53" fmla="*/ 460 h 1066"/>
              <a:gd name="T54" fmla="*/ 328 w 1043"/>
              <a:gd name="T55" fmla="*/ 454 h 1066"/>
              <a:gd name="T56" fmla="*/ 296 w 1043"/>
              <a:gd name="T57" fmla="*/ 454 h 1066"/>
              <a:gd name="T58" fmla="*/ 242 w 1043"/>
              <a:gd name="T59" fmla="*/ 460 h 1066"/>
              <a:gd name="T60" fmla="*/ 201 w 1043"/>
              <a:gd name="T61" fmla="*/ 472 h 1066"/>
              <a:gd name="T62" fmla="*/ 156 w 1043"/>
              <a:gd name="T63" fmla="*/ 493 h 1066"/>
              <a:gd name="T64" fmla="*/ 130 w 1043"/>
              <a:gd name="T65" fmla="*/ 510 h 1066"/>
              <a:gd name="T66" fmla="*/ 105 w 1043"/>
              <a:gd name="T67" fmla="*/ 529 h 1066"/>
              <a:gd name="T68" fmla="*/ 69 w 1043"/>
              <a:gd name="T69" fmla="*/ 566 h 1066"/>
              <a:gd name="T70" fmla="*/ 45 w 1043"/>
              <a:gd name="T71" fmla="*/ 599 h 1066"/>
              <a:gd name="T72" fmla="*/ 28 w 1043"/>
              <a:gd name="T73" fmla="*/ 631 h 1066"/>
              <a:gd name="T74" fmla="*/ 16 w 1043"/>
              <a:gd name="T75" fmla="*/ 661 h 1066"/>
              <a:gd name="T76" fmla="*/ 8 w 1043"/>
              <a:gd name="T77" fmla="*/ 690 h 1066"/>
              <a:gd name="T78" fmla="*/ 1 w 1043"/>
              <a:gd name="T79" fmla="*/ 732 h 1066"/>
              <a:gd name="T80" fmla="*/ 322 w 1043"/>
              <a:gd name="T81" fmla="*/ 1066 h 1066"/>
              <a:gd name="T82" fmla="*/ 359 w 1043"/>
              <a:gd name="T83" fmla="*/ 1061 h 1066"/>
              <a:gd name="T84" fmla="*/ 389 w 1043"/>
              <a:gd name="T85" fmla="*/ 1055 h 1066"/>
              <a:gd name="T86" fmla="*/ 420 w 1043"/>
              <a:gd name="T87" fmla="*/ 1044 h 1066"/>
              <a:gd name="T88" fmla="*/ 465 w 1043"/>
              <a:gd name="T89" fmla="*/ 1021 h 1066"/>
              <a:gd name="T90" fmla="*/ 499 w 1043"/>
              <a:gd name="T91" fmla="*/ 997 h 1066"/>
              <a:gd name="T92" fmla="*/ 526 w 1043"/>
              <a:gd name="T93" fmla="*/ 973 h 1066"/>
              <a:gd name="T94" fmla="*/ 540 w 1043"/>
              <a:gd name="T95" fmla="*/ 957 h 1066"/>
              <a:gd name="T96" fmla="*/ 561 w 1043"/>
              <a:gd name="T97" fmla="*/ 929 h 1066"/>
              <a:gd name="T98" fmla="*/ 573 w 1043"/>
              <a:gd name="T99" fmla="*/ 909 h 1066"/>
              <a:gd name="T100" fmla="*/ 588 w 1043"/>
              <a:gd name="T101" fmla="*/ 879 h 1066"/>
              <a:gd name="T102" fmla="*/ 599 w 1043"/>
              <a:gd name="T103" fmla="*/ 848 h 1066"/>
              <a:gd name="T104" fmla="*/ 605 w 1043"/>
              <a:gd name="T105" fmla="*/ 828 h 1066"/>
              <a:gd name="T106" fmla="*/ 609 w 1043"/>
              <a:gd name="T107" fmla="*/ 803 h 1066"/>
              <a:gd name="T108" fmla="*/ 306 w 1043"/>
              <a:gd name="T109" fmla="*/ 1041 h 1066"/>
              <a:gd name="T110" fmla="*/ 540 w 1043"/>
              <a:gd name="T111" fmla="*/ 666 h 1066"/>
              <a:gd name="T112" fmla="*/ 416 w 1043"/>
              <a:gd name="T113" fmla="*/ 791 h 1066"/>
              <a:gd name="T114" fmla="*/ 357 w 1043"/>
              <a:gd name="T115" fmla="*/ 729 h 1066"/>
              <a:gd name="T116" fmla="*/ 184 w 1043"/>
              <a:gd name="T117" fmla="*/ 769 h 1066"/>
              <a:gd name="T118" fmla="*/ 199 w 1043"/>
              <a:gd name="T119" fmla="*/ 741 h 1066"/>
              <a:gd name="T120" fmla="*/ 373 w 1043"/>
              <a:gd name="T121" fmla="*/ 701 h 1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43" h="1066">
                <a:moveTo>
                  <a:pt x="1003" y="180"/>
                </a:moveTo>
                <a:cubicBezTo>
                  <a:pt x="891" y="265"/>
                  <a:pt x="801" y="366"/>
                  <a:pt x="736" y="479"/>
                </a:cubicBezTo>
                <a:cubicBezTo>
                  <a:pt x="736" y="439"/>
                  <a:pt x="736" y="439"/>
                  <a:pt x="736" y="439"/>
                </a:cubicBezTo>
                <a:cubicBezTo>
                  <a:pt x="673" y="439"/>
                  <a:pt x="673" y="439"/>
                  <a:pt x="673" y="439"/>
                </a:cubicBezTo>
                <a:cubicBezTo>
                  <a:pt x="673" y="376"/>
                  <a:pt x="673" y="376"/>
                  <a:pt x="673" y="376"/>
                </a:cubicBezTo>
                <a:cubicBezTo>
                  <a:pt x="736" y="376"/>
                  <a:pt x="736" y="376"/>
                  <a:pt x="736" y="376"/>
                </a:cubicBezTo>
                <a:cubicBezTo>
                  <a:pt x="736" y="313"/>
                  <a:pt x="736" y="313"/>
                  <a:pt x="736" y="313"/>
                </a:cubicBezTo>
                <a:cubicBezTo>
                  <a:pt x="673" y="313"/>
                  <a:pt x="673" y="313"/>
                  <a:pt x="673" y="313"/>
                </a:cubicBezTo>
                <a:cubicBezTo>
                  <a:pt x="673" y="251"/>
                  <a:pt x="673" y="251"/>
                  <a:pt x="673" y="251"/>
                </a:cubicBezTo>
                <a:cubicBezTo>
                  <a:pt x="736" y="251"/>
                  <a:pt x="736" y="251"/>
                  <a:pt x="736" y="251"/>
                </a:cubicBezTo>
                <a:cubicBezTo>
                  <a:pt x="736" y="188"/>
                  <a:pt x="736" y="188"/>
                  <a:pt x="736" y="188"/>
                </a:cubicBezTo>
                <a:cubicBezTo>
                  <a:pt x="724" y="188"/>
                  <a:pt x="724" y="188"/>
                  <a:pt x="724" y="188"/>
                </a:cubicBezTo>
                <a:cubicBezTo>
                  <a:pt x="771" y="137"/>
                  <a:pt x="824" y="89"/>
                  <a:pt x="882" y="45"/>
                </a:cubicBezTo>
                <a:cubicBezTo>
                  <a:pt x="865" y="27"/>
                  <a:pt x="857" y="18"/>
                  <a:pt x="841" y="0"/>
                </a:cubicBezTo>
                <a:cubicBezTo>
                  <a:pt x="804" y="28"/>
                  <a:pt x="769" y="58"/>
                  <a:pt x="736" y="89"/>
                </a:cubicBezTo>
                <a:cubicBezTo>
                  <a:pt x="736" y="65"/>
                  <a:pt x="736" y="65"/>
                  <a:pt x="736" y="65"/>
                </a:cubicBezTo>
                <a:cubicBezTo>
                  <a:pt x="673" y="65"/>
                  <a:pt x="673" y="65"/>
                  <a:pt x="673" y="65"/>
                </a:cubicBezTo>
                <a:cubicBezTo>
                  <a:pt x="673" y="0"/>
                  <a:pt x="673" y="0"/>
                  <a:pt x="673" y="0"/>
                </a:cubicBezTo>
                <a:cubicBezTo>
                  <a:pt x="610" y="0"/>
                  <a:pt x="610" y="0"/>
                  <a:pt x="610" y="0"/>
                </a:cubicBezTo>
                <a:cubicBezTo>
                  <a:pt x="610" y="65"/>
                  <a:pt x="610" y="65"/>
                  <a:pt x="610" y="65"/>
                </a:cubicBezTo>
                <a:cubicBezTo>
                  <a:pt x="422" y="65"/>
                  <a:pt x="422" y="65"/>
                  <a:pt x="422" y="65"/>
                </a:cubicBezTo>
                <a:cubicBezTo>
                  <a:pt x="422" y="0"/>
                  <a:pt x="422" y="0"/>
                  <a:pt x="42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65"/>
                  <a:pt x="359" y="65"/>
                  <a:pt x="359" y="65"/>
                </a:cubicBezTo>
                <a:cubicBezTo>
                  <a:pt x="297" y="65"/>
                  <a:pt x="297" y="65"/>
                  <a:pt x="297" y="65"/>
                </a:cubicBezTo>
                <a:cubicBezTo>
                  <a:pt x="297" y="128"/>
                  <a:pt x="297" y="128"/>
                  <a:pt x="297" y="128"/>
                </a:cubicBezTo>
                <a:cubicBezTo>
                  <a:pt x="359" y="128"/>
                  <a:pt x="359" y="128"/>
                  <a:pt x="359" y="128"/>
                </a:cubicBezTo>
                <a:cubicBezTo>
                  <a:pt x="359" y="188"/>
                  <a:pt x="359" y="188"/>
                  <a:pt x="359" y="188"/>
                </a:cubicBezTo>
                <a:cubicBezTo>
                  <a:pt x="297" y="188"/>
                  <a:pt x="297" y="188"/>
                  <a:pt x="297" y="188"/>
                </a:cubicBezTo>
                <a:cubicBezTo>
                  <a:pt x="297" y="251"/>
                  <a:pt x="297" y="251"/>
                  <a:pt x="297" y="251"/>
                </a:cubicBezTo>
                <a:cubicBezTo>
                  <a:pt x="359" y="251"/>
                  <a:pt x="359" y="251"/>
                  <a:pt x="359" y="251"/>
                </a:cubicBezTo>
                <a:cubicBezTo>
                  <a:pt x="359" y="313"/>
                  <a:pt x="359" y="313"/>
                  <a:pt x="359" y="313"/>
                </a:cubicBezTo>
                <a:cubicBezTo>
                  <a:pt x="297" y="313"/>
                  <a:pt x="297" y="313"/>
                  <a:pt x="297" y="313"/>
                </a:cubicBezTo>
                <a:cubicBezTo>
                  <a:pt x="297" y="376"/>
                  <a:pt x="297" y="376"/>
                  <a:pt x="297" y="376"/>
                </a:cubicBezTo>
                <a:cubicBezTo>
                  <a:pt x="359" y="376"/>
                  <a:pt x="359" y="376"/>
                  <a:pt x="359" y="376"/>
                </a:cubicBezTo>
                <a:cubicBezTo>
                  <a:pt x="359" y="433"/>
                  <a:pt x="359" y="433"/>
                  <a:pt x="359" y="433"/>
                </a:cubicBezTo>
                <a:cubicBezTo>
                  <a:pt x="369" y="434"/>
                  <a:pt x="378" y="436"/>
                  <a:pt x="388" y="439"/>
                </a:cubicBezTo>
                <a:cubicBezTo>
                  <a:pt x="400" y="442"/>
                  <a:pt x="411" y="445"/>
                  <a:pt x="422" y="449"/>
                </a:cubicBezTo>
                <a:cubicBezTo>
                  <a:pt x="437" y="455"/>
                  <a:pt x="451" y="461"/>
                  <a:pt x="464" y="468"/>
                </a:cubicBezTo>
                <a:cubicBezTo>
                  <a:pt x="481" y="478"/>
                  <a:pt x="498" y="489"/>
                  <a:pt x="513" y="501"/>
                </a:cubicBezTo>
                <a:cubicBezTo>
                  <a:pt x="610" y="501"/>
                  <a:pt x="610" y="501"/>
                  <a:pt x="610" y="501"/>
                </a:cubicBezTo>
                <a:cubicBezTo>
                  <a:pt x="610" y="564"/>
                  <a:pt x="610" y="564"/>
                  <a:pt x="610" y="564"/>
                </a:cubicBezTo>
                <a:cubicBezTo>
                  <a:pt x="573" y="564"/>
                  <a:pt x="573" y="564"/>
                  <a:pt x="573" y="564"/>
                </a:cubicBezTo>
                <a:cubicBezTo>
                  <a:pt x="588" y="583"/>
                  <a:pt x="600" y="604"/>
                  <a:pt x="610" y="627"/>
                </a:cubicBezTo>
                <a:cubicBezTo>
                  <a:pt x="610" y="627"/>
                  <a:pt x="610" y="627"/>
                  <a:pt x="610" y="627"/>
                </a:cubicBezTo>
                <a:cubicBezTo>
                  <a:pt x="610" y="628"/>
                  <a:pt x="610" y="628"/>
                  <a:pt x="610" y="628"/>
                </a:cubicBezTo>
                <a:cubicBezTo>
                  <a:pt x="616" y="641"/>
                  <a:pt x="620" y="653"/>
                  <a:pt x="624" y="666"/>
                </a:cubicBezTo>
                <a:cubicBezTo>
                  <a:pt x="630" y="685"/>
                  <a:pt x="634" y="705"/>
                  <a:pt x="636" y="726"/>
                </a:cubicBezTo>
                <a:cubicBezTo>
                  <a:pt x="636" y="727"/>
                  <a:pt x="636" y="728"/>
                  <a:pt x="636" y="729"/>
                </a:cubicBezTo>
                <a:cubicBezTo>
                  <a:pt x="637" y="739"/>
                  <a:pt x="638" y="749"/>
                  <a:pt x="638" y="760"/>
                </a:cubicBezTo>
                <a:cubicBezTo>
                  <a:pt x="638" y="771"/>
                  <a:pt x="637" y="781"/>
                  <a:pt x="636" y="792"/>
                </a:cubicBezTo>
                <a:cubicBezTo>
                  <a:pt x="634" y="813"/>
                  <a:pt x="630" y="834"/>
                  <a:pt x="624" y="854"/>
                </a:cubicBezTo>
                <a:cubicBezTo>
                  <a:pt x="620" y="867"/>
                  <a:pt x="616" y="879"/>
                  <a:pt x="610" y="891"/>
                </a:cubicBezTo>
                <a:cubicBezTo>
                  <a:pt x="610" y="892"/>
                  <a:pt x="609" y="893"/>
                  <a:pt x="609" y="894"/>
                </a:cubicBezTo>
                <a:cubicBezTo>
                  <a:pt x="608" y="902"/>
                  <a:pt x="608" y="909"/>
                  <a:pt x="608" y="917"/>
                </a:cubicBezTo>
                <a:cubicBezTo>
                  <a:pt x="598" y="917"/>
                  <a:pt x="598" y="917"/>
                  <a:pt x="598" y="917"/>
                </a:cubicBezTo>
                <a:cubicBezTo>
                  <a:pt x="586" y="939"/>
                  <a:pt x="571" y="960"/>
                  <a:pt x="554" y="980"/>
                </a:cubicBezTo>
                <a:cubicBezTo>
                  <a:pt x="606" y="980"/>
                  <a:pt x="606" y="980"/>
                  <a:pt x="606" y="980"/>
                </a:cubicBezTo>
                <a:cubicBezTo>
                  <a:pt x="606" y="1008"/>
                  <a:pt x="608" y="1037"/>
                  <a:pt x="610" y="1065"/>
                </a:cubicBezTo>
                <a:cubicBezTo>
                  <a:pt x="634" y="1065"/>
                  <a:pt x="646" y="1065"/>
                  <a:pt x="670" y="1065"/>
                </a:cubicBezTo>
                <a:cubicBezTo>
                  <a:pt x="670" y="1065"/>
                  <a:pt x="670" y="1065"/>
                  <a:pt x="670" y="1065"/>
                </a:cubicBezTo>
                <a:cubicBezTo>
                  <a:pt x="673" y="1065"/>
                  <a:pt x="673" y="1065"/>
                  <a:pt x="673" y="1065"/>
                </a:cubicBezTo>
                <a:cubicBezTo>
                  <a:pt x="673" y="980"/>
                  <a:pt x="673" y="980"/>
                  <a:pt x="673" y="980"/>
                </a:cubicBezTo>
                <a:cubicBezTo>
                  <a:pt x="736" y="980"/>
                  <a:pt x="736" y="980"/>
                  <a:pt x="736" y="980"/>
                </a:cubicBezTo>
                <a:cubicBezTo>
                  <a:pt x="736" y="917"/>
                  <a:pt x="736" y="917"/>
                  <a:pt x="736" y="917"/>
                </a:cubicBezTo>
                <a:cubicBezTo>
                  <a:pt x="673" y="917"/>
                  <a:pt x="673" y="917"/>
                  <a:pt x="673" y="917"/>
                </a:cubicBezTo>
                <a:cubicBezTo>
                  <a:pt x="673" y="865"/>
                  <a:pt x="673" y="865"/>
                  <a:pt x="673" y="865"/>
                </a:cubicBezTo>
                <a:cubicBezTo>
                  <a:pt x="673" y="861"/>
                  <a:pt x="674" y="858"/>
                  <a:pt x="674" y="854"/>
                </a:cubicBezTo>
                <a:cubicBezTo>
                  <a:pt x="736" y="854"/>
                  <a:pt x="736" y="854"/>
                  <a:pt x="736" y="854"/>
                </a:cubicBezTo>
                <a:cubicBezTo>
                  <a:pt x="736" y="792"/>
                  <a:pt x="736" y="792"/>
                  <a:pt x="736" y="792"/>
                </a:cubicBezTo>
                <a:cubicBezTo>
                  <a:pt x="684" y="792"/>
                  <a:pt x="684" y="792"/>
                  <a:pt x="684" y="792"/>
                </a:cubicBezTo>
                <a:cubicBezTo>
                  <a:pt x="688" y="770"/>
                  <a:pt x="693" y="750"/>
                  <a:pt x="699" y="729"/>
                </a:cubicBezTo>
                <a:cubicBezTo>
                  <a:pt x="736" y="729"/>
                  <a:pt x="736" y="729"/>
                  <a:pt x="736" y="729"/>
                </a:cubicBezTo>
                <a:cubicBezTo>
                  <a:pt x="736" y="666"/>
                  <a:pt x="736" y="666"/>
                  <a:pt x="736" y="666"/>
                </a:cubicBezTo>
                <a:cubicBezTo>
                  <a:pt x="718" y="666"/>
                  <a:pt x="718" y="666"/>
                  <a:pt x="718" y="666"/>
                </a:cubicBezTo>
                <a:cubicBezTo>
                  <a:pt x="722" y="653"/>
                  <a:pt x="727" y="640"/>
                  <a:pt x="732" y="627"/>
                </a:cubicBezTo>
                <a:cubicBezTo>
                  <a:pt x="733" y="624"/>
                  <a:pt x="735" y="621"/>
                  <a:pt x="736" y="619"/>
                </a:cubicBezTo>
                <a:cubicBezTo>
                  <a:pt x="798" y="467"/>
                  <a:pt x="902" y="333"/>
                  <a:pt x="1043" y="224"/>
                </a:cubicBezTo>
                <a:cubicBezTo>
                  <a:pt x="1027" y="206"/>
                  <a:pt x="1019" y="197"/>
                  <a:pt x="1003" y="180"/>
                </a:cubicBezTo>
                <a:close/>
                <a:moveTo>
                  <a:pt x="673" y="128"/>
                </a:moveTo>
                <a:cubicBezTo>
                  <a:pt x="696" y="128"/>
                  <a:pt x="696" y="128"/>
                  <a:pt x="696" y="128"/>
                </a:cubicBezTo>
                <a:cubicBezTo>
                  <a:pt x="688" y="136"/>
                  <a:pt x="680" y="144"/>
                  <a:pt x="673" y="152"/>
                </a:cubicBezTo>
                <a:lnTo>
                  <a:pt x="673" y="128"/>
                </a:lnTo>
                <a:close/>
                <a:moveTo>
                  <a:pt x="478" y="439"/>
                </a:moveTo>
                <a:cubicBezTo>
                  <a:pt x="422" y="439"/>
                  <a:pt x="422" y="439"/>
                  <a:pt x="422" y="439"/>
                </a:cubicBezTo>
                <a:cubicBezTo>
                  <a:pt x="422" y="376"/>
                  <a:pt x="422" y="376"/>
                  <a:pt x="422" y="376"/>
                </a:cubicBezTo>
                <a:cubicBezTo>
                  <a:pt x="510" y="376"/>
                  <a:pt x="510" y="376"/>
                  <a:pt x="510" y="376"/>
                </a:cubicBezTo>
                <a:cubicBezTo>
                  <a:pt x="499" y="397"/>
                  <a:pt x="488" y="417"/>
                  <a:pt x="478" y="439"/>
                </a:cubicBezTo>
                <a:close/>
                <a:moveTo>
                  <a:pt x="422" y="313"/>
                </a:moveTo>
                <a:cubicBezTo>
                  <a:pt x="422" y="251"/>
                  <a:pt x="422" y="251"/>
                  <a:pt x="422" y="251"/>
                </a:cubicBezTo>
                <a:cubicBezTo>
                  <a:pt x="591" y="251"/>
                  <a:pt x="591" y="251"/>
                  <a:pt x="591" y="251"/>
                </a:cubicBezTo>
                <a:cubicBezTo>
                  <a:pt x="576" y="271"/>
                  <a:pt x="562" y="292"/>
                  <a:pt x="548" y="313"/>
                </a:cubicBezTo>
                <a:lnTo>
                  <a:pt x="422" y="313"/>
                </a:lnTo>
                <a:close/>
                <a:moveTo>
                  <a:pt x="610" y="439"/>
                </a:moveTo>
                <a:cubicBezTo>
                  <a:pt x="547" y="439"/>
                  <a:pt x="547" y="439"/>
                  <a:pt x="547" y="439"/>
                </a:cubicBezTo>
                <a:cubicBezTo>
                  <a:pt x="558" y="417"/>
                  <a:pt x="570" y="397"/>
                  <a:pt x="582" y="376"/>
                </a:cubicBezTo>
                <a:cubicBezTo>
                  <a:pt x="610" y="376"/>
                  <a:pt x="610" y="376"/>
                  <a:pt x="610" y="376"/>
                </a:cubicBezTo>
                <a:lnTo>
                  <a:pt x="610" y="439"/>
                </a:lnTo>
                <a:close/>
                <a:moveTo>
                  <a:pt x="610" y="188"/>
                </a:moveTo>
                <a:cubicBezTo>
                  <a:pt x="422" y="188"/>
                  <a:pt x="422" y="188"/>
                  <a:pt x="422" y="188"/>
                </a:cubicBezTo>
                <a:cubicBezTo>
                  <a:pt x="422" y="128"/>
                  <a:pt x="422" y="128"/>
                  <a:pt x="422" y="128"/>
                </a:cubicBezTo>
                <a:cubicBezTo>
                  <a:pt x="610" y="128"/>
                  <a:pt x="610" y="128"/>
                  <a:pt x="610" y="128"/>
                </a:cubicBezTo>
                <a:lnTo>
                  <a:pt x="610" y="188"/>
                </a:lnTo>
                <a:close/>
                <a:moveTo>
                  <a:pt x="692" y="564"/>
                </a:moveTo>
                <a:cubicBezTo>
                  <a:pt x="673" y="564"/>
                  <a:pt x="673" y="564"/>
                  <a:pt x="673" y="564"/>
                </a:cubicBezTo>
                <a:cubicBezTo>
                  <a:pt x="673" y="501"/>
                  <a:pt x="673" y="501"/>
                  <a:pt x="673" y="501"/>
                </a:cubicBezTo>
                <a:cubicBezTo>
                  <a:pt x="723" y="501"/>
                  <a:pt x="723" y="501"/>
                  <a:pt x="723" y="501"/>
                </a:cubicBezTo>
                <a:cubicBezTo>
                  <a:pt x="712" y="522"/>
                  <a:pt x="702" y="543"/>
                  <a:pt x="692" y="564"/>
                </a:cubicBezTo>
                <a:close/>
                <a:moveTo>
                  <a:pt x="360" y="729"/>
                </a:moveTo>
                <a:cubicBezTo>
                  <a:pt x="357" y="729"/>
                  <a:pt x="357" y="729"/>
                  <a:pt x="357" y="729"/>
                </a:cubicBezTo>
                <a:cubicBezTo>
                  <a:pt x="357" y="729"/>
                  <a:pt x="357" y="729"/>
                  <a:pt x="357" y="729"/>
                </a:cubicBezTo>
                <a:cubicBezTo>
                  <a:pt x="358" y="729"/>
                  <a:pt x="359" y="729"/>
                  <a:pt x="359" y="729"/>
                </a:cubicBezTo>
                <a:cubicBezTo>
                  <a:pt x="360" y="729"/>
                  <a:pt x="360" y="729"/>
                  <a:pt x="360" y="729"/>
                </a:cubicBezTo>
                <a:close/>
                <a:moveTo>
                  <a:pt x="365" y="729"/>
                </a:moveTo>
                <a:cubicBezTo>
                  <a:pt x="362" y="729"/>
                  <a:pt x="362" y="729"/>
                  <a:pt x="362" y="729"/>
                </a:cubicBezTo>
                <a:cubicBezTo>
                  <a:pt x="363" y="729"/>
                  <a:pt x="363" y="729"/>
                  <a:pt x="364" y="729"/>
                </a:cubicBezTo>
                <a:lnTo>
                  <a:pt x="365" y="729"/>
                </a:lnTo>
                <a:close/>
                <a:moveTo>
                  <a:pt x="275" y="455"/>
                </a:moveTo>
                <a:cubicBezTo>
                  <a:pt x="280" y="455"/>
                  <a:pt x="285" y="454"/>
                  <a:pt x="289" y="454"/>
                </a:cubicBezTo>
                <a:cubicBezTo>
                  <a:pt x="285" y="454"/>
                  <a:pt x="280" y="455"/>
                  <a:pt x="275" y="455"/>
                </a:cubicBezTo>
                <a:close/>
                <a:moveTo>
                  <a:pt x="275" y="455"/>
                </a:moveTo>
                <a:cubicBezTo>
                  <a:pt x="280" y="455"/>
                  <a:pt x="285" y="454"/>
                  <a:pt x="289" y="454"/>
                </a:cubicBezTo>
                <a:cubicBezTo>
                  <a:pt x="285" y="454"/>
                  <a:pt x="280" y="455"/>
                  <a:pt x="275" y="455"/>
                </a:cubicBezTo>
                <a:close/>
                <a:moveTo>
                  <a:pt x="612" y="752"/>
                </a:moveTo>
                <a:cubicBezTo>
                  <a:pt x="612" y="750"/>
                  <a:pt x="612" y="748"/>
                  <a:pt x="612" y="746"/>
                </a:cubicBezTo>
                <a:cubicBezTo>
                  <a:pt x="612" y="745"/>
                  <a:pt x="612" y="745"/>
                  <a:pt x="612" y="744"/>
                </a:cubicBezTo>
                <a:cubicBezTo>
                  <a:pt x="612" y="741"/>
                  <a:pt x="612" y="739"/>
                  <a:pt x="612" y="736"/>
                </a:cubicBezTo>
                <a:cubicBezTo>
                  <a:pt x="611" y="735"/>
                  <a:pt x="611" y="734"/>
                  <a:pt x="611" y="733"/>
                </a:cubicBezTo>
                <a:cubicBezTo>
                  <a:pt x="611" y="732"/>
                  <a:pt x="611" y="730"/>
                  <a:pt x="611" y="729"/>
                </a:cubicBezTo>
                <a:cubicBezTo>
                  <a:pt x="611" y="729"/>
                  <a:pt x="611" y="729"/>
                  <a:pt x="611" y="728"/>
                </a:cubicBezTo>
                <a:cubicBezTo>
                  <a:pt x="611" y="727"/>
                  <a:pt x="611" y="726"/>
                  <a:pt x="610" y="724"/>
                </a:cubicBezTo>
                <a:cubicBezTo>
                  <a:pt x="610" y="724"/>
                  <a:pt x="610" y="724"/>
                  <a:pt x="610" y="724"/>
                </a:cubicBezTo>
                <a:cubicBezTo>
                  <a:pt x="610" y="722"/>
                  <a:pt x="610" y="720"/>
                  <a:pt x="610" y="718"/>
                </a:cubicBezTo>
                <a:cubicBezTo>
                  <a:pt x="609" y="718"/>
                  <a:pt x="609" y="717"/>
                  <a:pt x="609" y="717"/>
                </a:cubicBezTo>
                <a:cubicBezTo>
                  <a:pt x="609" y="714"/>
                  <a:pt x="609" y="712"/>
                  <a:pt x="608" y="709"/>
                </a:cubicBezTo>
                <a:cubicBezTo>
                  <a:pt x="608" y="708"/>
                  <a:pt x="608" y="706"/>
                  <a:pt x="607" y="704"/>
                </a:cubicBezTo>
                <a:cubicBezTo>
                  <a:pt x="607" y="704"/>
                  <a:pt x="607" y="704"/>
                  <a:pt x="607" y="704"/>
                </a:cubicBezTo>
                <a:cubicBezTo>
                  <a:pt x="607" y="702"/>
                  <a:pt x="607" y="700"/>
                  <a:pt x="606" y="699"/>
                </a:cubicBezTo>
                <a:cubicBezTo>
                  <a:pt x="606" y="698"/>
                  <a:pt x="606" y="698"/>
                  <a:pt x="606" y="698"/>
                </a:cubicBezTo>
                <a:cubicBezTo>
                  <a:pt x="606" y="696"/>
                  <a:pt x="605" y="694"/>
                  <a:pt x="605" y="692"/>
                </a:cubicBezTo>
                <a:cubicBezTo>
                  <a:pt x="605" y="691"/>
                  <a:pt x="605" y="691"/>
                  <a:pt x="604" y="690"/>
                </a:cubicBezTo>
                <a:cubicBezTo>
                  <a:pt x="603" y="684"/>
                  <a:pt x="603" y="684"/>
                  <a:pt x="603" y="684"/>
                </a:cubicBezTo>
                <a:cubicBezTo>
                  <a:pt x="603" y="682"/>
                  <a:pt x="602" y="681"/>
                  <a:pt x="602" y="679"/>
                </a:cubicBezTo>
                <a:cubicBezTo>
                  <a:pt x="601" y="678"/>
                  <a:pt x="601" y="678"/>
                  <a:pt x="601" y="678"/>
                </a:cubicBezTo>
                <a:cubicBezTo>
                  <a:pt x="601" y="678"/>
                  <a:pt x="601" y="677"/>
                  <a:pt x="601" y="677"/>
                </a:cubicBezTo>
                <a:cubicBezTo>
                  <a:pt x="601" y="676"/>
                  <a:pt x="601" y="675"/>
                  <a:pt x="600" y="674"/>
                </a:cubicBezTo>
                <a:cubicBezTo>
                  <a:pt x="600" y="674"/>
                  <a:pt x="600" y="674"/>
                  <a:pt x="600" y="674"/>
                </a:cubicBezTo>
                <a:cubicBezTo>
                  <a:pt x="600" y="673"/>
                  <a:pt x="600" y="673"/>
                  <a:pt x="600" y="673"/>
                </a:cubicBezTo>
                <a:cubicBezTo>
                  <a:pt x="599" y="671"/>
                  <a:pt x="599" y="669"/>
                  <a:pt x="598" y="667"/>
                </a:cubicBezTo>
                <a:cubicBezTo>
                  <a:pt x="598" y="667"/>
                  <a:pt x="598" y="667"/>
                  <a:pt x="598" y="667"/>
                </a:cubicBezTo>
                <a:cubicBezTo>
                  <a:pt x="598" y="666"/>
                  <a:pt x="598" y="666"/>
                  <a:pt x="598" y="666"/>
                </a:cubicBezTo>
                <a:cubicBezTo>
                  <a:pt x="597" y="664"/>
                  <a:pt x="597" y="663"/>
                  <a:pt x="596" y="661"/>
                </a:cubicBezTo>
                <a:cubicBezTo>
                  <a:pt x="595" y="659"/>
                  <a:pt x="595" y="657"/>
                  <a:pt x="594" y="655"/>
                </a:cubicBezTo>
                <a:cubicBezTo>
                  <a:pt x="593" y="652"/>
                  <a:pt x="592" y="650"/>
                  <a:pt x="591" y="647"/>
                </a:cubicBezTo>
                <a:cubicBezTo>
                  <a:pt x="590" y="645"/>
                  <a:pt x="589" y="643"/>
                  <a:pt x="589" y="641"/>
                </a:cubicBezTo>
                <a:cubicBezTo>
                  <a:pt x="588" y="639"/>
                  <a:pt x="587" y="637"/>
                  <a:pt x="586" y="635"/>
                </a:cubicBezTo>
                <a:cubicBezTo>
                  <a:pt x="585" y="634"/>
                  <a:pt x="585" y="633"/>
                  <a:pt x="584" y="632"/>
                </a:cubicBezTo>
                <a:cubicBezTo>
                  <a:pt x="584" y="630"/>
                  <a:pt x="583" y="628"/>
                  <a:pt x="582" y="627"/>
                </a:cubicBezTo>
                <a:cubicBezTo>
                  <a:pt x="582" y="627"/>
                  <a:pt x="582" y="627"/>
                  <a:pt x="582" y="626"/>
                </a:cubicBezTo>
                <a:cubicBezTo>
                  <a:pt x="581" y="625"/>
                  <a:pt x="580" y="623"/>
                  <a:pt x="579" y="621"/>
                </a:cubicBezTo>
                <a:cubicBezTo>
                  <a:pt x="579" y="621"/>
                  <a:pt x="579" y="620"/>
                  <a:pt x="578" y="620"/>
                </a:cubicBezTo>
                <a:cubicBezTo>
                  <a:pt x="578" y="618"/>
                  <a:pt x="577" y="617"/>
                  <a:pt x="576" y="616"/>
                </a:cubicBezTo>
                <a:cubicBezTo>
                  <a:pt x="575" y="614"/>
                  <a:pt x="574" y="611"/>
                  <a:pt x="573" y="609"/>
                </a:cubicBezTo>
                <a:cubicBezTo>
                  <a:pt x="573" y="609"/>
                  <a:pt x="573" y="609"/>
                  <a:pt x="573" y="609"/>
                </a:cubicBezTo>
                <a:cubicBezTo>
                  <a:pt x="571" y="607"/>
                  <a:pt x="570" y="604"/>
                  <a:pt x="569" y="602"/>
                </a:cubicBezTo>
                <a:cubicBezTo>
                  <a:pt x="567" y="599"/>
                  <a:pt x="566" y="597"/>
                  <a:pt x="564" y="595"/>
                </a:cubicBezTo>
                <a:cubicBezTo>
                  <a:pt x="562" y="591"/>
                  <a:pt x="560" y="588"/>
                  <a:pt x="558" y="585"/>
                </a:cubicBezTo>
                <a:cubicBezTo>
                  <a:pt x="557" y="584"/>
                  <a:pt x="556" y="583"/>
                  <a:pt x="555" y="582"/>
                </a:cubicBezTo>
                <a:cubicBezTo>
                  <a:pt x="555" y="581"/>
                  <a:pt x="554" y="580"/>
                  <a:pt x="553" y="579"/>
                </a:cubicBezTo>
                <a:cubicBezTo>
                  <a:pt x="552" y="577"/>
                  <a:pt x="551" y="576"/>
                  <a:pt x="550" y="574"/>
                </a:cubicBezTo>
                <a:cubicBezTo>
                  <a:pt x="549" y="573"/>
                  <a:pt x="548" y="572"/>
                  <a:pt x="547" y="571"/>
                </a:cubicBezTo>
                <a:cubicBezTo>
                  <a:pt x="547" y="570"/>
                  <a:pt x="546" y="569"/>
                  <a:pt x="545" y="569"/>
                </a:cubicBezTo>
                <a:cubicBezTo>
                  <a:pt x="544" y="567"/>
                  <a:pt x="543" y="566"/>
                  <a:pt x="542" y="564"/>
                </a:cubicBezTo>
                <a:cubicBezTo>
                  <a:pt x="540" y="562"/>
                  <a:pt x="539" y="561"/>
                  <a:pt x="537" y="559"/>
                </a:cubicBezTo>
                <a:cubicBezTo>
                  <a:pt x="536" y="557"/>
                  <a:pt x="534" y="556"/>
                  <a:pt x="533" y="554"/>
                </a:cubicBezTo>
                <a:cubicBezTo>
                  <a:pt x="531" y="552"/>
                  <a:pt x="530" y="550"/>
                  <a:pt x="528" y="549"/>
                </a:cubicBezTo>
                <a:cubicBezTo>
                  <a:pt x="526" y="547"/>
                  <a:pt x="524" y="545"/>
                  <a:pt x="523" y="543"/>
                </a:cubicBezTo>
                <a:cubicBezTo>
                  <a:pt x="521" y="542"/>
                  <a:pt x="520" y="541"/>
                  <a:pt x="519" y="539"/>
                </a:cubicBezTo>
                <a:cubicBezTo>
                  <a:pt x="518" y="539"/>
                  <a:pt x="518" y="539"/>
                  <a:pt x="518" y="539"/>
                </a:cubicBezTo>
                <a:cubicBezTo>
                  <a:pt x="516" y="537"/>
                  <a:pt x="514" y="535"/>
                  <a:pt x="512" y="533"/>
                </a:cubicBezTo>
                <a:cubicBezTo>
                  <a:pt x="511" y="532"/>
                  <a:pt x="509" y="531"/>
                  <a:pt x="508" y="530"/>
                </a:cubicBezTo>
                <a:cubicBezTo>
                  <a:pt x="507" y="529"/>
                  <a:pt x="507" y="529"/>
                  <a:pt x="506" y="528"/>
                </a:cubicBezTo>
                <a:cubicBezTo>
                  <a:pt x="505" y="527"/>
                  <a:pt x="503" y="526"/>
                  <a:pt x="502" y="524"/>
                </a:cubicBezTo>
                <a:cubicBezTo>
                  <a:pt x="501" y="524"/>
                  <a:pt x="500" y="523"/>
                  <a:pt x="499" y="522"/>
                </a:cubicBezTo>
                <a:cubicBezTo>
                  <a:pt x="499" y="522"/>
                  <a:pt x="499" y="522"/>
                  <a:pt x="499" y="522"/>
                </a:cubicBezTo>
                <a:cubicBezTo>
                  <a:pt x="499" y="522"/>
                  <a:pt x="499" y="522"/>
                  <a:pt x="498" y="521"/>
                </a:cubicBezTo>
                <a:cubicBezTo>
                  <a:pt x="497" y="521"/>
                  <a:pt x="496" y="520"/>
                  <a:pt x="495" y="519"/>
                </a:cubicBezTo>
                <a:cubicBezTo>
                  <a:pt x="493" y="517"/>
                  <a:pt x="491" y="516"/>
                  <a:pt x="489" y="514"/>
                </a:cubicBezTo>
                <a:cubicBezTo>
                  <a:pt x="488" y="513"/>
                  <a:pt x="486" y="512"/>
                  <a:pt x="484" y="511"/>
                </a:cubicBezTo>
                <a:cubicBezTo>
                  <a:pt x="483" y="510"/>
                  <a:pt x="482" y="509"/>
                  <a:pt x="481" y="508"/>
                </a:cubicBezTo>
                <a:cubicBezTo>
                  <a:pt x="478" y="506"/>
                  <a:pt x="474" y="504"/>
                  <a:pt x="470" y="501"/>
                </a:cubicBezTo>
                <a:cubicBezTo>
                  <a:pt x="469" y="500"/>
                  <a:pt x="468" y="500"/>
                  <a:pt x="466" y="499"/>
                </a:cubicBezTo>
                <a:cubicBezTo>
                  <a:pt x="465" y="498"/>
                  <a:pt x="464" y="497"/>
                  <a:pt x="462" y="496"/>
                </a:cubicBezTo>
                <a:cubicBezTo>
                  <a:pt x="462" y="496"/>
                  <a:pt x="462" y="496"/>
                  <a:pt x="462" y="496"/>
                </a:cubicBezTo>
                <a:cubicBezTo>
                  <a:pt x="460" y="495"/>
                  <a:pt x="457" y="493"/>
                  <a:pt x="455" y="492"/>
                </a:cubicBezTo>
                <a:cubicBezTo>
                  <a:pt x="454" y="492"/>
                  <a:pt x="454" y="492"/>
                  <a:pt x="454" y="492"/>
                </a:cubicBezTo>
                <a:cubicBezTo>
                  <a:pt x="449" y="489"/>
                  <a:pt x="444" y="486"/>
                  <a:pt x="438" y="484"/>
                </a:cubicBezTo>
                <a:cubicBezTo>
                  <a:pt x="436" y="482"/>
                  <a:pt x="434" y="481"/>
                  <a:pt x="431" y="480"/>
                </a:cubicBezTo>
                <a:cubicBezTo>
                  <a:pt x="430" y="480"/>
                  <a:pt x="429" y="479"/>
                  <a:pt x="428" y="479"/>
                </a:cubicBezTo>
                <a:cubicBezTo>
                  <a:pt x="426" y="478"/>
                  <a:pt x="424" y="477"/>
                  <a:pt x="423" y="477"/>
                </a:cubicBezTo>
                <a:cubicBezTo>
                  <a:pt x="423" y="477"/>
                  <a:pt x="422" y="477"/>
                  <a:pt x="422" y="476"/>
                </a:cubicBezTo>
                <a:cubicBezTo>
                  <a:pt x="422" y="476"/>
                  <a:pt x="422" y="476"/>
                  <a:pt x="422" y="476"/>
                </a:cubicBezTo>
                <a:cubicBezTo>
                  <a:pt x="420" y="475"/>
                  <a:pt x="418" y="475"/>
                  <a:pt x="415" y="474"/>
                </a:cubicBezTo>
                <a:cubicBezTo>
                  <a:pt x="415" y="474"/>
                  <a:pt x="414" y="473"/>
                  <a:pt x="414" y="473"/>
                </a:cubicBezTo>
                <a:cubicBezTo>
                  <a:pt x="412" y="472"/>
                  <a:pt x="410" y="472"/>
                  <a:pt x="408" y="471"/>
                </a:cubicBezTo>
                <a:cubicBezTo>
                  <a:pt x="408" y="471"/>
                  <a:pt x="407" y="471"/>
                  <a:pt x="407" y="471"/>
                </a:cubicBezTo>
                <a:cubicBezTo>
                  <a:pt x="406" y="470"/>
                  <a:pt x="405" y="470"/>
                  <a:pt x="404" y="470"/>
                </a:cubicBezTo>
                <a:cubicBezTo>
                  <a:pt x="403" y="469"/>
                  <a:pt x="402" y="469"/>
                  <a:pt x="401" y="469"/>
                </a:cubicBezTo>
                <a:cubicBezTo>
                  <a:pt x="401" y="468"/>
                  <a:pt x="400" y="468"/>
                  <a:pt x="400" y="468"/>
                </a:cubicBezTo>
                <a:cubicBezTo>
                  <a:pt x="400" y="468"/>
                  <a:pt x="399" y="468"/>
                  <a:pt x="399" y="468"/>
                </a:cubicBezTo>
                <a:cubicBezTo>
                  <a:pt x="397" y="467"/>
                  <a:pt x="394" y="467"/>
                  <a:pt x="392" y="466"/>
                </a:cubicBezTo>
                <a:cubicBezTo>
                  <a:pt x="392" y="466"/>
                  <a:pt x="392" y="466"/>
                  <a:pt x="391" y="466"/>
                </a:cubicBezTo>
                <a:cubicBezTo>
                  <a:pt x="390" y="465"/>
                  <a:pt x="388" y="465"/>
                  <a:pt x="386" y="464"/>
                </a:cubicBezTo>
                <a:cubicBezTo>
                  <a:pt x="385" y="464"/>
                  <a:pt x="383" y="463"/>
                  <a:pt x="382" y="463"/>
                </a:cubicBezTo>
                <a:cubicBezTo>
                  <a:pt x="380" y="462"/>
                  <a:pt x="377" y="462"/>
                  <a:pt x="375" y="461"/>
                </a:cubicBezTo>
                <a:cubicBezTo>
                  <a:pt x="373" y="461"/>
                  <a:pt x="370" y="460"/>
                  <a:pt x="368" y="460"/>
                </a:cubicBezTo>
                <a:cubicBezTo>
                  <a:pt x="366" y="460"/>
                  <a:pt x="365" y="459"/>
                  <a:pt x="363" y="459"/>
                </a:cubicBezTo>
                <a:cubicBezTo>
                  <a:pt x="362" y="459"/>
                  <a:pt x="360" y="458"/>
                  <a:pt x="359" y="458"/>
                </a:cubicBezTo>
                <a:cubicBezTo>
                  <a:pt x="359" y="458"/>
                  <a:pt x="359" y="458"/>
                  <a:pt x="359" y="458"/>
                </a:cubicBezTo>
                <a:cubicBezTo>
                  <a:pt x="354" y="457"/>
                  <a:pt x="350" y="457"/>
                  <a:pt x="345" y="456"/>
                </a:cubicBezTo>
                <a:cubicBezTo>
                  <a:pt x="343" y="456"/>
                  <a:pt x="340" y="455"/>
                  <a:pt x="338" y="455"/>
                </a:cubicBezTo>
                <a:cubicBezTo>
                  <a:pt x="336" y="455"/>
                  <a:pt x="334" y="455"/>
                  <a:pt x="332" y="455"/>
                </a:cubicBezTo>
                <a:cubicBezTo>
                  <a:pt x="332" y="455"/>
                  <a:pt x="332" y="455"/>
                  <a:pt x="331" y="455"/>
                </a:cubicBezTo>
                <a:cubicBezTo>
                  <a:pt x="330" y="455"/>
                  <a:pt x="329" y="455"/>
                  <a:pt x="328" y="454"/>
                </a:cubicBezTo>
                <a:cubicBezTo>
                  <a:pt x="326" y="454"/>
                  <a:pt x="324" y="454"/>
                  <a:pt x="322" y="454"/>
                </a:cubicBezTo>
                <a:cubicBezTo>
                  <a:pt x="322" y="454"/>
                  <a:pt x="322" y="454"/>
                  <a:pt x="322" y="454"/>
                </a:cubicBezTo>
                <a:cubicBezTo>
                  <a:pt x="319" y="454"/>
                  <a:pt x="317" y="454"/>
                  <a:pt x="314" y="454"/>
                </a:cubicBezTo>
                <a:cubicBezTo>
                  <a:pt x="312" y="454"/>
                  <a:pt x="309" y="454"/>
                  <a:pt x="306" y="454"/>
                </a:cubicBezTo>
                <a:cubicBezTo>
                  <a:pt x="304" y="454"/>
                  <a:pt x="301" y="454"/>
                  <a:pt x="299" y="454"/>
                </a:cubicBezTo>
                <a:cubicBezTo>
                  <a:pt x="298" y="454"/>
                  <a:pt x="298" y="454"/>
                  <a:pt x="297" y="454"/>
                </a:cubicBezTo>
                <a:cubicBezTo>
                  <a:pt x="297" y="454"/>
                  <a:pt x="297" y="454"/>
                  <a:pt x="296" y="454"/>
                </a:cubicBezTo>
                <a:cubicBezTo>
                  <a:pt x="296" y="454"/>
                  <a:pt x="296" y="454"/>
                  <a:pt x="296" y="454"/>
                </a:cubicBezTo>
                <a:cubicBezTo>
                  <a:pt x="294" y="454"/>
                  <a:pt x="293" y="454"/>
                  <a:pt x="291" y="454"/>
                </a:cubicBezTo>
                <a:cubicBezTo>
                  <a:pt x="291" y="454"/>
                  <a:pt x="290" y="454"/>
                  <a:pt x="289" y="454"/>
                </a:cubicBezTo>
                <a:cubicBezTo>
                  <a:pt x="285" y="454"/>
                  <a:pt x="280" y="455"/>
                  <a:pt x="275" y="455"/>
                </a:cubicBezTo>
                <a:cubicBezTo>
                  <a:pt x="272" y="455"/>
                  <a:pt x="270" y="456"/>
                  <a:pt x="267" y="456"/>
                </a:cubicBezTo>
                <a:cubicBezTo>
                  <a:pt x="267" y="456"/>
                  <a:pt x="266" y="456"/>
                  <a:pt x="265" y="456"/>
                </a:cubicBezTo>
                <a:cubicBezTo>
                  <a:pt x="261" y="457"/>
                  <a:pt x="256" y="458"/>
                  <a:pt x="252" y="458"/>
                </a:cubicBezTo>
                <a:cubicBezTo>
                  <a:pt x="250" y="459"/>
                  <a:pt x="248" y="459"/>
                  <a:pt x="246" y="460"/>
                </a:cubicBezTo>
                <a:cubicBezTo>
                  <a:pt x="245" y="460"/>
                  <a:pt x="243" y="460"/>
                  <a:pt x="242" y="460"/>
                </a:cubicBezTo>
                <a:cubicBezTo>
                  <a:pt x="241" y="461"/>
                  <a:pt x="240" y="461"/>
                  <a:pt x="239" y="461"/>
                </a:cubicBezTo>
                <a:cubicBezTo>
                  <a:pt x="238" y="461"/>
                  <a:pt x="236" y="462"/>
                  <a:pt x="235" y="462"/>
                </a:cubicBezTo>
                <a:cubicBezTo>
                  <a:pt x="235" y="462"/>
                  <a:pt x="234" y="462"/>
                  <a:pt x="234" y="462"/>
                </a:cubicBezTo>
                <a:cubicBezTo>
                  <a:pt x="233" y="462"/>
                  <a:pt x="232" y="463"/>
                  <a:pt x="231" y="463"/>
                </a:cubicBezTo>
                <a:cubicBezTo>
                  <a:pt x="230" y="463"/>
                  <a:pt x="230" y="463"/>
                  <a:pt x="229" y="464"/>
                </a:cubicBezTo>
                <a:cubicBezTo>
                  <a:pt x="224" y="465"/>
                  <a:pt x="220" y="466"/>
                  <a:pt x="216" y="467"/>
                </a:cubicBezTo>
                <a:cubicBezTo>
                  <a:pt x="213" y="468"/>
                  <a:pt x="210" y="469"/>
                  <a:pt x="207" y="470"/>
                </a:cubicBezTo>
                <a:cubicBezTo>
                  <a:pt x="205" y="471"/>
                  <a:pt x="203" y="472"/>
                  <a:pt x="201" y="472"/>
                </a:cubicBezTo>
                <a:cubicBezTo>
                  <a:pt x="199" y="473"/>
                  <a:pt x="197" y="474"/>
                  <a:pt x="195" y="475"/>
                </a:cubicBezTo>
                <a:cubicBezTo>
                  <a:pt x="194" y="475"/>
                  <a:pt x="193" y="475"/>
                  <a:pt x="191" y="476"/>
                </a:cubicBezTo>
                <a:cubicBezTo>
                  <a:pt x="190" y="476"/>
                  <a:pt x="189" y="477"/>
                  <a:pt x="187" y="478"/>
                </a:cubicBezTo>
                <a:cubicBezTo>
                  <a:pt x="185" y="479"/>
                  <a:pt x="183" y="479"/>
                  <a:pt x="181" y="480"/>
                </a:cubicBezTo>
                <a:cubicBezTo>
                  <a:pt x="179" y="481"/>
                  <a:pt x="176" y="483"/>
                  <a:pt x="174" y="484"/>
                </a:cubicBezTo>
                <a:cubicBezTo>
                  <a:pt x="171" y="485"/>
                  <a:pt x="169" y="486"/>
                  <a:pt x="167" y="487"/>
                </a:cubicBezTo>
                <a:cubicBezTo>
                  <a:pt x="165" y="488"/>
                  <a:pt x="162" y="489"/>
                  <a:pt x="160" y="491"/>
                </a:cubicBezTo>
                <a:cubicBezTo>
                  <a:pt x="159" y="491"/>
                  <a:pt x="157" y="492"/>
                  <a:pt x="156" y="493"/>
                </a:cubicBezTo>
                <a:cubicBezTo>
                  <a:pt x="154" y="494"/>
                  <a:pt x="153" y="495"/>
                  <a:pt x="152" y="495"/>
                </a:cubicBezTo>
                <a:cubicBezTo>
                  <a:pt x="151" y="496"/>
                  <a:pt x="149" y="497"/>
                  <a:pt x="147" y="498"/>
                </a:cubicBezTo>
                <a:cubicBezTo>
                  <a:pt x="145" y="499"/>
                  <a:pt x="143" y="501"/>
                  <a:pt x="141" y="502"/>
                </a:cubicBezTo>
                <a:cubicBezTo>
                  <a:pt x="141" y="502"/>
                  <a:pt x="141" y="502"/>
                  <a:pt x="141" y="502"/>
                </a:cubicBezTo>
                <a:cubicBezTo>
                  <a:pt x="139" y="503"/>
                  <a:pt x="137" y="504"/>
                  <a:pt x="136" y="506"/>
                </a:cubicBezTo>
                <a:cubicBezTo>
                  <a:pt x="134" y="506"/>
                  <a:pt x="133" y="507"/>
                  <a:pt x="132" y="508"/>
                </a:cubicBezTo>
                <a:cubicBezTo>
                  <a:pt x="132" y="508"/>
                  <a:pt x="132" y="508"/>
                  <a:pt x="132" y="508"/>
                </a:cubicBezTo>
                <a:cubicBezTo>
                  <a:pt x="131" y="509"/>
                  <a:pt x="130" y="509"/>
                  <a:pt x="130" y="510"/>
                </a:cubicBezTo>
                <a:cubicBezTo>
                  <a:pt x="129" y="510"/>
                  <a:pt x="128" y="511"/>
                  <a:pt x="128" y="511"/>
                </a:cubicBezTo>
                <a:cubicBezTo>
                  <a:pt x="126" y="512"/>
                  <a:pt x="125" y="513"/>
                  <a:pt x="123" y="514"/>
                </a:cubicBezTo>
                <a:cubicBezTo>
                  <a:pt x="121" y="516"/>
                  <a:pt x="119" y="517"/>
                  <a:pt x="117" y="519"/>
                </a:cubicBezTo>
                <a:cubicBezTo>
                  <a:pt x="115" y="520"/>
                  <a:pt x="113" y="522"/>
                  <a:pt x="111" y="524"/>
                </a:cubicBezTo>
                <a:cubicBezTo>
                  <a:pt x="110" y="525"/>
                  <a:pt x="109" y="526"/>
                  <a:pt x="107" y="527"/>
                </a:cubicBezTo>
                <a:cubicBezTo>
                  <a:pt x="107" y="527"/>
                  <a:pt x="107" y="527"/>
                  <a:pt x="107" y="527"/>
                </a:cubicBezTo>
                <a:cubicBezTo>
                  <a:pt x="107" y="527"/>
                  <a:pt x="107" y="528"/>
                  <a:pt x="106" y="528"/>
                </a:cubicBezTo>
                <a:cubicBezTo>
                  <a:pt x="106" y="528"/>
                  <a:pt x="105" y="529"/>
                  <a:pt x="105" y="529"/>
                </a:cubicBezTo>
                <a:cubicBezTo>
                  <a:pt x="104" y="530"/>
                  <a:pt x="102" y="531"/>
                  <a:pt x="101" y="532"/>
                </a:cubicBezTo>
                <a:cubicBezTo>
                  <a:pt x="99" y="534"/>
                  <a:pt x="97" y="536"/>
                  <a:pt x="95" y="538"/>
                </a:cubicBezTo>
                <a:cubicBezTo>
                  <a:pt x="93" y="540"/>
                  <a:pt x="91" y="542"/>
                  <a:pt x="90" y="543"/>
                </a:cubicBezTo>
                <a:cubicBezTo>
                  <a:pt x="88" y="545"/>
                  <a:pt x="86" y="547"/>
                  <a:pt x="85" y="549"/>
                </a:cubicBezTo>
                <a:cubicBezTo>
                  <a:pt x="83" y="550"/>
                  <a:pt x="81" y="552"/>
                  <a:pt x="80" y="554"/>
                </a:cubicBezTo>
                <a:cubicBezTo>
                  <a:pt x="78" y="556"/>
                  <a:pt x="76" y="558"/>
                  <a:pt x="75" y="559"/>
                </a:cubicBezTo>
                <a:cubicBezTo>
                  <a:pt x="73" y="561"/>
                  <a:pt x="72" y="563"/>
                  <a:pt x="71" y="564"/>
                </a:cubicBezTo>
                <a:cubicBezTo>
                  <a:pt x="70" y="565"/>
                  <a:pt x="70" y="565"/>
                  <a:pt x="69" y="566"/>
                </a:cubicBezTo>
                <a:cubicBezTo>
                  <a:pt x="68" y="567"/>
                  <a:pt x="67" y="569"/>
                  <a:pt x="65" y="571"/>
                </a:cubicBezTo>
                <a:cubicBezTo>
                  <a:pt x="64" y="573"/>
                  <a:pt x="62" y="575"/>
                  <a:pt x="61" y="577"/>
                </a:cubicBezTo>
                <a:cubicBezTo>
                  <a:pt x="60" y="578"/>
                  <a:pt x="58" y="580"/>
                  <a:pt x="57" y="582"/>
                </a:cubicBezTo>
                <a:cubicBezTo>
                  <a:pt x="57" y="582"/>
                  <a:pt x="56" y="583"/>
                  <a:pt x="56" y="584"/>
                </a:cubicBezTo>
                <a:cubicBezTo>
                  <a:pt x="55" y="585"/>
                  <a:pt x="54" y="586"/>
                  <a:pt x="53" y="588"/>
                </a:cubicBezTo>
                <a:cubicBezTo>
                  <a:pt x="53" y="588"/>
                  <a:pt x="52" y="589"/>
                  <a:pt x="52" y="589"/>
                </a:cubicBezTo>
                <a:cubicBezTo>
                  <a:pt x="51" y="591"/>
                  <a:pt x="49" y="593"/>
                  <a:pt x="48" y="595"/>
                </a:cubicBezTo>
                <a:cubicBezTo>
                  <a:pt x="47" y="596"/>
                  <a:pt x="46" y="598"/>
                  <a:pt x="45" y="599"/>
                </a:cubicBezTo>
                <a:cubicBezTo>
                  <a:pt x="45" y="599"/>
                  <a:pt x="45" y="599"/>
                  <a:pt x="45" y="599"/>
                </a:cubicBezTo>
                <a:cubicBezTo>
                  <a:pt x="45" y="601"/>
                  <a:pt x="44" y="602"/>
                  <a:pt x="43" y="603"/>
                </a:cubicBezTo>
                <a:cubicBezTo>
                  <a:pt x="42" y="605"/>
                  <a:pt x="41" y="606"/>
                  <a:pt x="40" y="608"/>
                </a:cubicBezTo>
                <a:cubicBezTo>
                  <a:pt x="40" y="608"/>
                  <a:pt x="40" y="608"/>
                  <a:pt x="40" y="609"/>
                </a:cubicBezTo>
                <a:cubicBezTo>
                  <a:pt x="39" y="610"/>
                  <a:pt x="38" y="612"/>
                  <a:pt x="37" y="614"/>
                </a:cubicBezTo>
                <a:cubicBezTo>
                  <a:pt x="36" y="616"/>
                  <a:pt x="35" y="618"/>
                  <a:pt x="34" y="620"/>
                </a:cubicBezTo>
                <a:cubicBezTo>
                  <a:pt x="32" y="623"/>
                  <a:pt x="31" y="625"/>
                  <a:pt x="30" y="627"/>
                </a:cubicBezTo>
                <a:cubicBezTo>
                  <a:pt x="30" y="628"/>
                  <a:pt x="29" y="630"/>
                  <a:pt x="28" y="631"/>
                </a:cubicBezTo>
                <a:cubicBezTo>
                  <a:pt x="28" y="632"/>
                  <a:pt x="27" y="634"/>
                  <a:pt x="27" y="635"/>
                </a:cubicBezTo>
                <a:cubicBezTo>
                  <a:pt x="27" y="635"/>
                  <a:pt x="27" y="635"/>
                  <a:pt x="27" y="635"/>
                </a:cubicBezTo>
                <a:cubicBezTo>
                  <a:pt x="26" y="637"/>
                  <a:pt x="25" y="639"/>
                  <a:pt x="24" y="641"/>
                </a:cubicBezTo>
                <a:cubicBezTo>
                  <a:pt x="23" y="643"/>
                  <a:pt x="22" y="645"/>
                  <a:pt x="22" y="647"/>
                </a:cubicBezTo>
                <a:cubicBezTo>
                  <a:pt x="21" y="647"/>
                  <a:pt x="21" y="647"/>
                  <a:pt x="21" y="648"/>
                </a:cubicBezTo>
                <a:cubicBezTo>
                  <a:pt x="21" y="648"/>
                  <a:pt x="21" y="648"/>
                  <a:pt x="21" y="648"/>
                </a:cubicBezTo>
                <a:cubicBezTo>
                  <a:pt x="20" y="650"/>
                  <a:pt x="19" y="652"/>
                  <a:pt x="19" y="655"/>
                </a:cubicBezTo>
                <a:cubicBezTo>
                  <a:pt x="18" y="657"/>
                  <a:pt x="17" y="659"/>
                  <a:pt x="16" y="661"/>
                </a:cubicBezTo>
                <a:cubicBezTo>
                  <a:pt x="16" y="661"/>
                  <a:pt x="16" y="662"/>
                  <a:pt x="16" y="662"/>
                </a:cubicBezTo>
                <a:cubicBezTo>
                  <a:pt x="15" y="664"/>
                  <a:pt x="15" y="666"/>
                  <a:pt x="14" y="668"/>
                </a:cubicBezTo>
                <a:cubicBezTo>
                  <a:pt x="14" y="668"/>
                  <a:pt x="14" y="669"/>
                  <a:pt x="14" y="669"/>
                </a:cubicBezTo>
                <a:cubicBezTo>
                  <a:pt x="13" y="671"/>
                  <a:pt x="13" y="673"/>
                  <a:pt x="12" y="675"/>
                </a:cubicBezTo>
                <a:cubicBezTo>
                  <a:pt x="11" y="677"/>
                  <a:pt x="11" y="679"/>
                  <a:pt x="10" y="681"/>
                </a:cubicBezTo>
                <a:cubicBezTo>
                  <a:pt x="10" y="681"/>
                  <a:pt x="10" y="682"/>
                  <a:pt x="10" y="682"/>
                </a:cubicBezTo>
                <a:cubicBezTo>
                  <a:pt x="10" y="682"/>
                  <a:pt x="10" y="682"/>
                  <a:pt x="10" y="682"/>
                </a:cubicBezTo>
                <a:cubicBezTo>
                  <a:pt x="9" y="685"/>
                  <a:pt x="9" y="687"/>
                  <a:pt x="8" y="690"/>
                </a:cubicBezTo>
                <a:cubicBezTo>
                  <a:pt x="8" y="691"/>
                  <a:pt x="8" y="691"/>
                  <a:pt x="8" y="692"/>
                </a:cubicBezTo>
                <a:cubicBezTo>
                  <a:pt x="7" y="694"/>
                  <a:pt x="7" y="696"/>
                  <a:pt x="6" y="698"/>
                </a:cubicBezTo>
                <a:cubicBezTo>
                  <a:pt x="6" y="701"/>
                  <a:pt x="5" y="703"/>
                  <a:pt x="5" y="706"/>
                </a:cubicBezTo>
                <a:cubicBezTo>
                  <a:pt x="4" y="708"/>
                  <a:pt x="4" y="710"/>
                  <a:pt x="4" y="712"/>
                </a:cubicBezTo>
                <a:cubicBezTo>
                  <a:pt x="3" y="715"/>
                  <a:pt x="3" y="718"/>
                  <a:pt x="3" y="721"/>
                </a:cubicBezTo>
                <a:cubicBezTo>
                  <a:pt x="2" y="723"/>
                  <a:pt x="2" y="726"/>
                  <a:pt x="2" y="728"/>
                </a:cubicBezTo>
                <a:cubicBezTo>
                  <a:pt x="2" y="729"/>
                  <a:pt x="1" y="730"/>
                  <a:pt x="1" y="731"/>
                </a:cubicBezTo>
                <a:cubicBezTo>
                  <a:pt x="1" y="732"/>
                  <a:pt x="1" y="732"/>
                  <a:pt x="1" y="732"/>
                </a:cubicBezTo>
                <a:cubicBezTo>
                  <a:pt x="1" y="734"/>
                  <a:pt x="1" y="736"/>
                  <a:pt x="1" y="738"/>
                </a:cubicBezTo>
                <a:cubicBezTo>
                  <a:pt x="1" y="740"/>
                  <a:pt x="1" y="742"/>
                  <a:pt x="0" y="744"/>
                </a:cubicBezTo>
                <a:cubicBezTo>
                  <a:pt x="0" y="745"/>
                  <a:pt x="0" y="745"/>
                  <a:pt x="0" y="746"/>
                </a:cubicBezTo>
                <a:cubicBezTo>
                  <a:pt x="0" y="748"/>
                  <a:pt x="0" y="750"/>
                  <a:pt x="0" y="752"/>
                </a:cubicBezTo>
                <a:cubicBezTo>
                  <a:pt x="0" y="754"/>
                  <a:pt x="0" y="757"/>
                  <a:pt x="0" y="760"/>
                </a:cubicBezTo>
                <a:cubicBezTo>
                  <a:pt x="0" y="929"/>
                  <a:pt x="137" y="1066"/>
                  <a:pt x="306" y="1066"/>
                </a:cubicBezTo>
                <a:cubicBezTo>
                  <a:pt x="309" y="1066"/>
                  <a:pt x="312" y="1066"/>
                  <a:pt x="314" y="1066"/>
                </a:cubicBezTo>
                <a:cubicBezTo>
                  <a:pt x="317" y="1066"/>
                  <a:pt x="319" y="1066"/>
                  <a:pt x="322" y="1066"/>
                </a:cubicBezTo>
                <a:cubicBezTo>
                  <a:pt x="322" y="1066"/>
                  <a:pt x="322" y="1066"/>
                  <a:pt x="322" y="1066"/>
                </a:cubicBezTo>
                <a:cubicBezTo>
                  <a:pt x="324" y="1065"/>
                  <a:pt x="326" y="1065"/>
                  <a:pt x="328" y="1065"/>
                </a:cubicBezTo>
                <a:cubicBezTo>
                  <a:pt x="329" y="1065"/>
                  <a:pt x="330" y="1065"/>
                  <a:pt x="331" y="1065"/>
                </a:cubicBezTo>
                <a:cubicBezTo>
                  <a:pt x="332" y="1065"/>
                  <a:pt x="332" y="1065"/>
                  <a:pt x="332" y="1065"/>
                </a:cubicBezTo>
                <a:cubicBezTo>
                  <a:pt x="334" y="1065"/>
                  <a:pt x="336" y="1065"/>
                  <a:pt x="338" y="1064"/>
                </a:cubicBezTo>
                <a:cubicBezTo>
                  <a:pt x="340" y="1064"/>
                  <a:pt x="343" y="1064"/>
                  <a:pt x="345" y="1063"/>
                </a:cubicBezTo>
                <a:cubicBezTo>
                  <a:pt x="350" y="1063"/>
                  <a:pt x="354" y="1062"/>
                  <a:pt x="359" y="1061"/>
                </a:cubicBezTo>
                <a:cubicBezTo>
                  <a:pt x="359" y="1061"/>
                  <a:pt x="359" y="1061"/>
                  <a:pt x="359" y="1061"/>
                </a:cubicBezTo>
                <a:cubicBezTo>
                  <a:pt x="360" y="1061"/>
                  <a:pt x="360" y="1061"/>
                  <a:pt x="361" y="1061"/>
                </a:cubicBezTo>
                <a:cubicBezTo>
                  <a:pt x="363" y="1061"/>
                  <a:pt x="366" y="1060"/>
                  <a:pt x="368" y="1060"/>
                </a:cubicBezTo>
                <a:cubicBezTo>
                  <a:pt x="368" y="1060"/>
                  <a:pt x="368" y="1060"/>
                  <a:pt x="368" y="1060"/>
                </a:cubicBezTo>
                <a:cubicBezTo>
                  <a:pt x="370" y="1059"/>
                  <a:pt x="373" y="1059"/>
                  <a:pt x="375" y="1058"/>
                </a:cubicBezTo>
                <a:cubicBezTo>
                  <a:pt x="375" y="1058"/>
                  <a:pt x="375" y="1058"/>
                  <a:pt x="376" y="1058"/>
                </a:cubicBezTo>
                <a:cubicBezTo>
                  <a:pt x="378" y="1057"/>
                  <a:pt x="380" y="1057"/>
                  <a:pt x="383" y="1056"/>
                </a:cubicBezTo>
                <a:cubicBezTo>
                  <a:pt x="384" y="1056"/>
                  <a:pt x="386" y="1055"/>
                  <a:pt x="388" y="1055"/>
                </a:cubicBezTo>
                <a:cubicBezTo>
                  <a:pt x="388" y="1055"/>
                  <a:pt x="389" y="1055"/>
                  <a:pt x="389" y="1055"/>
                </a:cubicBezTo>
                <a:cubicBezTo>
                  <a:pt x="390" y="1054"/>
                  <a:pt x="391" y="1054"/>
                  <a:pt x="392" y="1054"/>
                </a:cubicBezTo>
                <a:cubicBezTo>
                  <a:pt x="393" y="1053"/>
                  <a:pt x="395" y="1053"/>
                  <a:pt x="396" y="1053"/>
                </a:cubicBezTo>
                <a:cubicBezTo>
                  <a:pt x="398" y="1052"/>
                  <a:pt x="400" y="1051"/>
                  <a:pt x="402" y="1050"/>
                </a:cubicBezTo>
                <a:cubicBezTo>
                  <a:pt x="405" y="1050"/>
                  <a:pt x="407" y="1049"/>
                  <a:pt x="409" y="1048"/>
                </a:cubicBezTo>
                <a:cubicBezTo>
                  <a:pt x="411" y="1048"/>
                  <a:pt x="412" y="1047"/>
                  <a:pt x="413" y="1047"/>
                </a:cubicBezTo>
                <a:cubicBezTo>
                  <a:pt x="415" y="1046"/>
                  <a:pt x="416" y="1046"/>
                  <a:pt x="417" y="1045"/>
                </a:cubicBezTo>
                <a:cubicBezTo>
                  <a:pt x="418" y="1045"/>
                  <a:pt x="419" y="1044"/>
                  <a:pt x="420" y="1044"/>
                </a:cubicBezTo>
                <a:cubicBezTo>
                  <a:pt x="420" y="1044"/>
                  <a:pt x="420" y="1044"/>
                  <a:pt x="420" y="1044"/>
                </a:cubicBezTo>
                <a:cubicBezTo>
                  <a:pt x="421" y="1044"/>
                  <a:pt x="421" y="1044"/>
                  <a:pt x="421" y="1044"/>
                </a:cubicBezTo>
                <a:cubicBezTo>
                  <a:pt x="421" y="1044"/>
                  <a:pt x="421" y="1044"/>
                  <a:pt x="421" y="1044"/>
                </a:cubicBezTo>
                <a:cubicBezTo>
                  <a:pt x="422" y="1043"/>
                  <a:pt x="422" y="1043"/>
                  <a:pt x="422" y="1043"/>
                </a:cubicBezTo>
                <a:cubicBezTo>
                  <a:pt x="422" y="1043"/>
                  <a:pt x="422" y="1043"/>
                  <a:pt x="422" y="1043"/>
                </a:cubicBezTo>
                <a:cubicBezTo>
                  <a:pt x="424" y="1042"/>
                  <a:pt x="426" y="1042"/>
                  <a:pt x="427" y="1041"/>
                </a:cubicBezTo>
                <a:cubicBezTo>
                  <a:pt x="433" y="1038"/>
                  <a:pt x="440" y="1035"/>
                  <a:pt x="446" y="1032"/>
                </a:cubicBezTo>
                <a:cubicBezTo>
                  <a:pt x="448" y="1031"/>
                  <a:pt x="450" y="1030"/>
                  <a:pt x="452" y="1029"/>
                </a:cubicBezTo>
                <a:cubicBezTo>
                  <a:pt x="457" y="1027"/>
                  <a:pt x="461" y="1024"/>
                  <a:pt x="465" y="1021"/>
                </a:cubicBezTo>
                <a:cubicBezTo>
                  <a:pt x="467" y="1020"/>
                  <a:pt x="469" y="1019"/>
                  <a:pt x="471" y="1018"/>
                </a:cubicBezTo>
                <a:cubicBezTo>
                  <a:pt x="472" y="1017"/>
                  <a:pt x="474" y="1016"/>
                  <a:pt x="475" y="1015"/>
                </a:cubicBezTo>
                <a:cubicBezTo>
                  <a:pt x="477" y="1014"/>
                  <a:pt x="479" y="1013"/>
                  <a:pt x="481" y="1011"/>
                </a:cubicBezTo>
                <a:cubicBezTo>
                  <a:pt x="482" y="1010"/>
                  <a:pt x="484" y="1009"/>
                  <a:pt x="485" y="1008"/>
                </a:cubicBezTo>
                <a:cubicBezTo>
                  <a:pt x="487" y="1007"/>
                  <a:pt x="488" y="1006"/>
                  <a:pt x="490" y="1005"/>
                </a:cubicBezTo>
                <a:cubicBezTo>
                  <a:pt x="492" y="1003"/>
                  <a:pt x="493" y="1002"/>
                  <a:pt x="495" y="1001"/>
                </a:cubicBezTo>
                <a:cubicBezTo>
                  <a:pt x="496" y="1000"/>
                  <a:pt x="497" y="999"/>
                  <a:pt x="499" y="998"/>
                </a:cubicBezTo>
                <a:cubicBezTo>
                  <a:pt x="499" y="998"/>
                  <a:pt x="499" y="998"/>
                  <a:pt x="499" y="997"/>
                </a:cubicBezTo>
                <a:cubicBezTo>
                  <a:pt x="501" y="996"/>
                  <a:pt x="502" y="995"/>
                  <a:pt x="504" y="993"/>
                </a:cubicBezTo>
                <a:cubicBezTo>
                  <a:pt x="507" y="991"/>
                  <a:pt x="511" y="987"/>
                  <a:pt x="514" y="984"/>
                </a:cubicBezTo>
                <a:cubicBezTo>
                  <a:pt x="514" y="984"/>
                  <a:pt x="515" y="984"/>
                  <a:pt x="515" y="984"/>
                </a:cubicBezTo>
                <a:cubicBezTo>
                  <a:pt x="516" y="983"/>
                  <a:pt x="517" y="982"/>
                  <a:pt x="517" y="981"/>
                </a:cubicBezTo>
                <a:cubicBezTo>
                  <a:pt x="518" y="981"/>
                  <a:pt x="519" y="980"/>
                  <a:pt x="519" y="980"/>
                </a:cubicBezTo>
                <a:cubicBezTo>
                  <a:pt x="520" y="978"/>
                  <a:pt x="522" y="977"/>
                  <a:pt x="523" y="976"/>
                </a:cubicBezTo>
                <a:cubicBezTo>
                  <a:pt x="524" y="975"/>
                  <a:pt x="525" y="974"/>
                  <a:pt x="526" y="973"/>
                </a:cubicBezTo>
                <a:cubicBezTo>
                  <a:pt x="526" y="973"/>
                  <a:pt x="526" y="973"/>
                  <a:pt x="526" y="973"/>
                </a:cubicBezTo>
                <a:cubicBezTo>
                  <a:pt x="526" y="973"/>
                  <a:pt x="526" y="972"/>
                  <a:pt x="527" y="972"/>
                </a:cubicBezTo>
                <a:cubicBezTo>
                  <a:pt x="528" y="971"/>
                  <a:pt x="529" y="970"/>
                  <a:pt x="530" y="968"/>
                </a:cubicBezTo>
                <a:cubicBezTo>
                  <a:pt x="531" y="968"/>
                  <a:pt x="531" y="968"/>
                  <a:pt x="531" y="968"/>
                </a:cubicBezTo>
                <a:cubicBezTo>
                  <a:pt x="532" y="967"/>
                  <a:pt x="532" y="966"/>
                  <a:pt x="533" y="966"/>
                </a:cubicBezTo>
                <a:cubicBezTo>
                  <a:pt x="534" y="965"/>
                  <a:pt x="535" y="964"/>
                  <a:pt x="535" y="963"/>
                </a:cubicBezTo>
                <a:cubicBezTo>
                  <a:pt x="536" y="963"/>
                  <a:pt x="536" y="962"/>
                  <a:pt x="536" y="962"/>
                </a:cubicBezTo>
                <a:cubicBezTo>
                  <a:pt x="537" y="961"/>
                  <a:pt x="538" y="960"/>
                  <a:pt x="539" y="958"/>
                </a:cubicBezTo>
                <a:cubicBezTo>
                  <a:pt x="540" y="958"/>
                  <a:pt x="540" y="957"/>
                  <a:pt x="540" y="957"/>
                </a:cubicBezTo>
                <a:cubicBezTo>
                  <a:pt x="542" y="955"/>
                  <a:pt x="543" y="954"/>
                  <a:pt x="544" y="952"/>
                </a:cubicBezTo>
                <a:cubicBezTo>
                  <a:pt x="545" y="951"/>
                  <a:pt x="546" y="950"/>
                  <a:pt x="547" y="949"/>
                </a:cubicBezTo>
                <a:cubicBezTo>
                  <a:pt x="549" y="947"/>
                  <a:pt x="550" y="945"/>
                  <a:pt x="551" y="943"/>
                </a:cubicBezTo>
                <a:cubicBezTo>
                  <a:pt x="552" y="942"/>
                  <a:pt x="553" y="942"/>
                  <a:pt x="553" y="941"/>
                </a:cubicBezTo>
                <a:cubicBezTo>
                  <a:pt x="555" y="939"/>
                  <a:pt x="556" y="936"/>
                  <a:pt x="558" y="934"/>
                </a:cubicBezTo>
                <a:cubicBezTo>
                  <a:pt x="558" y="934"/>
                  <a:pt x="558" y="934"/>
                  <a:pt x="558" y="934"/>
                </a:cubicBezTo>
                <a:cubicBezTo>
                  <a:pt x="559" y="932"/>
                  <a:pt x="560" y="931"/>
                  <a:pt x="561" y="929"/>
                </a:cubicBezTo>
                <a:cubicBezTo>
                  <a:pt x="561" y="929"/>
                  <a:pt x="561" y="929"/>
                  <a:pt x="561" y="929"/>
                </a:cubicBezTo>
                <a:cubicBezTo>
                  <a:pt x="562" y="929"/>
                  <a:pt x="562" y="929"/>
                  <a:pt x="562" y="928"/>
                </a:cubicBezTo>
                <a:cubicBezTo>
                  <a:pt x="562" y="928"/>
                  <a:pt x="562" y="928"/>
                  <a:pt x="562" y="928"/>
                </a:cubicBezTo>
                <a:cubicBezTo>
                  <a:pt x="563" y="927"/>
                  <a:pt x="563" y="926"/>
                  <a:pt x="564" y="925"/>
                </a:cubicBezTo>
                <a:cubicBezTo>
                  <a:pt x="565" y="924"/>
                  <a:pt x="565" y="924"/>
                  <a:pt x="565" y="923"/>
                </a:cubicBezTo>
                <a:cubicBezTo>
                  <a:pt x="566" y="922"/>
                  <a:pt x="567" y="921"/>
                  <a:pt x="567" y="920"/>
                </a:cubicBezTo>
                <a:cubicBezTo>
                  <a:pt x="568" y="919"/>
                  <a:pt x="568" y="918"/>
                  <a:pt x="569" y="917"/>
                </a:cubicBezTo>
                <a:cubicBezTo>
                  <a:pt x="570" y="916"/>
                  <a:pt x="570" y="914"/>
                  <a:pt x="571" y="913"/>
                </a:cubicBezTo>
                <a:cubicBezTo>
                  <a:pt x="572" y="912"/>
                  <a:pt x="573" y="911"/>
                  <a:pt x="573" y="909"/>
                </a:cubicBezTo>
                <a:cubicBezTo>
                  <a:pt x="574" y="908"/>
                  <a:pt x="575" y="906"/>
                  <a:pt x="576" y="904"/>
                </a:cubicBezTo>
                <a:cubicBezTo>
                  <a:pt x="576" y="904"/>
                  <a:pt x="576" y="904"/>
                  <a:pt x="576" y="904"/>
                </a:cubicBezTo>
                <a:cubicBezTo>
                  <a:pt x="577" y="903"/>
                  <a:pt x="578" y="901"/>
                  <a:pt x="578" y="900"/>
                </a:cubicBezTo>
                <a:cubicBezTo>
                  <a:pt x="579" y="899"/>
                  <a:pt x="579" y="898"/>
                  <a:pt x="580" y="897"/>
                </a:cubicBezTo>
                <a:cubicBezTo>
                  <a:pt x="581" y="896"/>
                  <a:pt x="581" y="895"/>
                  <a:pt x="582" y="893"/>
                </a:cubicBezTo>
                <a:cubicBezTo>
                  <a:pt x="583" y="891"/>
                  <a:pt x="584" y="889"/>
                  <a:pt x="585" y="887"/>
                </a:cubicBezTo>
                <a:cubicBezTo>
                  <a:pt x="586" y="884"/>
                  <a:pt x="587" y="881"/>
                  <a:pt x="588" y="879"/>
                </a:cubicBezTo>
                <a:cubicBezTo>
                  <a:pt x="588" y="879"/>
                  <a:pt x="588" y="879"/>
                  <a:pt x="588" y="879"/>
                </a:cubicBezTo>
                <a:cubicBezTo>
                  <a:pt x="589" y="877"/>
                  <a:pt x="590" y="875"/>
                  <a:pt x="590" y="874"/>
                </a:cubicBezTo>
                <a:cubicBezTo>
                  <a:pt x="591" y="873"/>
                  <a:pt x="591" y="872"/>
                  <a:pt x="592" y="871"/>
                </a:cubicBezTo>
                <a:cubicBezTo>
                  <a:pt x="593" y="868"/>
                  <a:pt x="594" y="866"/>
                  <a:pt x="595" y="863"/>
                </a:cubicBezTo>
                <a:cubicBezTo>
                  <a:pt x="595" y="863"/>
                  <a:pt x="595" y="862"/>
                  <a:pt x="595" y="862"/>
                </a:cubicBezTo>
                <a:cubicBezTo>
                  <a:pt x="595" y="862"/>
                  <a:pt x="595" y="862"/>
                  <a:pt x="595" y="861"/>
                </a:cubicBezTo>
                <a:cubicBezTo>
                  <a:pt x="595" y="861"/>
                  <a:pt x="595" y="861"/>
                  <a:pt x="595" y="861"/>
                </a:cubicBezTo>
                <a:cubicBezTo>
                  <a:pt x="596" y="859"/>
                  <a:pt x="597" y="856"/>
                  <a:pt x="598" y="854"/>
                </a:cubicBezTo>
                <a:cubicBezTo>
                  <a:pt x="598" y="852"/>
                  <a:pt x="599" y="850"/>
                  <a:pt x="599" y="848"/>
                </a:cubicBezTo>
                <a:cubicBezTo>
                  <a:pt x="600" y="848"/>
                  <a:pt x="600" y="847"/>
                  <a:pt x="600" y="846"/>
                </a:cubicBezTo>
                <a:cubicBezTo>
                  <a:pt x="600" y="846"/>
                  <a:pt x="600" y="846"/>
                  <a:pt x="600" y="846"/>
                </a:cubicBezTo>
                <a:cubicBezTo>
                  <a:pt x="600" y="846"/>
                  <a:pt x="600" y="846"/>
                  <a:pt x="600" y="845"/>
                </a:cubicBezTo>
                <a:cubicBezTo>
                  <a:pt x="600" y="845"/>
                  <a:pt x="600" y="845"/>
                  <a:pt x="600" y="845"/>
                </a:cubicBezTo>
                <a:cubicBezTo>
                  <a:pt x="601" y="843"/>
                  <a:pt x="601" y="842"/>
                  <a:pt x="602" y="841"/>
                </a:cubicBezTo>
                <a:cubicBezTo>
                  <a:pt x="602" y="839"/>
                  <a:pt x="603" y="837"/>
                  <a:pt x="603" y="835"/>
                </a:cubicBezTo>
                <a:cubicBezTo>
                  <a:pt x="603" y="833"/>
                  <a:pt x="604" y="832"/>
                  <a:pt x="604" y="831"/>
                </a:cubicBezTo>
                <a:cubicBezTo>
                  <a:pt x="604" y="830"/>
                  <a:pt x="605" y="829"/>
                  <a:pt x="605" y="828"/>
                </a:cubicBezTo>
                <a:cubicBezTo>
                  <a:pt x="605" y="827"/>
                  <a:pt x="605" y="827"/>
                  <a:pt x="605" y="827"/>
                </a:cubicBezTo>
                <a:cubicBezTo>
                  <a:pt x="606" y="824"/>
                  <a:pt x="606" y="822"/>
                  <a:pt x="606" y="820"/>
                </a:cubicBezTo>
                <a:cubicBezTo>
                  <a:pt x="607" y="819"/>
                  <a:pt x="607" y="817"/>
                  <a:pt x="607" y="816"/>
                </a:cubicBezTo>
                <a:cubicBezTo>
                  <a:pt x="608" y="814"/>
                  <a:pt x="608" y="812"/>
                  <a:pt x="608" y="810"/>
                </a:cubicBezTo>
                <a:cubicBezTo>
                  <a:pt x="608" y="809"/>
                  <a:pt x="609" y="808"/>
                  <a:pt x="609" y="807"/>
                </a:cubicBezTo>
                <a:cubicBezTo>
                  <a:pt x="609" y="806"/>
                  <a:pt x="609" y="805"/>
                  <a:pt x="609" y="804"/>
                </a:cubicBezTo>
                <a:cubicBezTo>
                  <a:pt x="609" y="804"/>
                  <a:pt x="609" y="803"/>
                  <a:pt x="609" y="803"/>
                </a:cubicBezTo>
                <a:cubicBezTo>
                  <a:pt x="609" y="803"/>
                  <a:pt x="609" y="803"/>
                  <a:pt x="609" y="803"/>
                </a:cubicBezTo>
                <a:cubicBezTo>
                  <a:pt x="609" y="803"/>
                  <a:pt x="609" y="803"/>
                  <a:pt x="609" y="803"/>
                </a:cubicBezTo>
                <a:cubicBezTo>
                  <a:pt x="610" y="801"/>
                  <a:pt x="610" y="799"/>
                  <a:pt x="610" y="796"/>
                </a:cubicBezTo>
                <a:cubicBezTo>
                  <a:pt x="610" y="796"/>
                  <a:pt x="610" y="796"/>
                  <a:pt x="610" y="795"/>
                </a:cubicBezTo>
                <a:cubicBezTo>
                  <a:pt x="610" y="795"/>
                  <a:pt x="610" y="795"/>
                  <a:pt x="610" y="795"/>
                </a:cubicBezTo>
                <a:cubicBezTo>
                  <a:pt x="611" y="794"/>
                  <a:pt x="611" y="793"/>
                  <a:pt x="611" y="792"/>
                </a:cubicBezTo>
                <a:cubicBezTo>
                  <a:pt x="612" y="781"/>
                  <a:pt x="612" y="771"/>
                  <a:pt x="612" y="760"/>
                </a:cubicBezTo>
                <a:cubicBezTo>
                  <a:pt x="612" y="757"/>
                  <a:pt x="612" y="754"/>
                  <a:pt x="612" y="752"/>
                </a:cubicBezTo>
                <a:close/>
                <a:moveTo>
                  <a:pt x="306" y="1041"/>
                </a:moveTo>
                <a:cubicBezTo>
                  <a:pt x="151" y="1041"/>
                  <a:pt x="25" y="915"/>
                  <a:pt x="25" y="760"/>
                </a:cubicBezTo>
                <a:cubicBezTo>
                  <a:pt x="25" y="605"/>
                  <a:pt x="151" y="479"/>
                  <a:pt x="306" y="479"/>
                </a:cubicBezTo>
                <a:cubicBezTo>
                  <a:pt x="345" y="479"/>
                  <a:pt x="382" y="487"/>
                  <a:pt x="416" y="501"/>
                </a:cubicBezTo>
                <a:cubicBezTo>
                  <a:pt x="418" y="502"/>
                  <a:pt x="420" y="503"/>
                  <a:pt x="422" y="504"/>
                </a:cubicBezTo>
                <a:cubicBezTo>
                  <a:pt x="451" y="517"/>
                  <a:pt x="477" y="535"/>
                  <a:pt x="500" y="556"/>
                </a:cubicBezTo>
                <a:cubicBezTo>
                  <a:pt x="554" y="608"/>
                  <a:pt x="587" y="680"/>
                  <a:pt x="587" y="760"/>
                </a:cubicBezTo>
                <a:cubicBezTo>
                  <a:pt x="587" y="915"/>
                  <a:pt x="461" y="1041"/>
                  <a:pt x="306" y="1041"/>
                </a:cubicBezTo>
                <a:close/>
                <a:moveTo>
                  <a:pt x="540" y="666"/>
                </a:moveTo>
                <a:cubicBezTo>
                  <a:pt x="522" y="710"/>
                  <a:pt x="522" y="710"/>
                  <a:pt x="522" y="710"/>
                </a:cubicBezTo>
                <a:cubicBezTo>
                  <a:pt x="519" y="700"/>
                  <a:pt x="519" y="700"/>
                  <a:pt x="519" y="700"/>
                </a:cubicBezTo>
                <a:cubicBezTo>
                  <a:pt x="444" y="776"/>
                  <a:pt x="444" y="776"/>
                  <a:pt x="444" y="776"/>
                </a:cubicBezTo>
                <a:cubicBezTo>
                  <a:pt x="445" y="781"/>
                  <a:pt x="443" y="787"/>
                  <a:pt x="439" y="791"/>
                </a:cubicBezTo>
                <a:cubicBezTo>
                  <a:pt x="438" y="792"/>
                  <a:pt x="437" y="793"/>
                  <a:pt x="435" y="794"/>
                </a:cubicBezTo>
                <a:cubicBezTo>
                  <a:pt x="431" y="796"/>
                  <a:pt x="427" y="796"/>
                  <a:pt x="422" y="795"/>
                </a:cubicBezTo>
                <a:cubicBezTo>
                  <a:pt x="420" y="794"/>
                  <a:pt x="418" y="793"/>
                  <a:pt x="416" y="792"/>
                </a:cubicBezTo>
                <a:cubicBezTo>
                  <a:pt x="416" y="791"/>
                  <a:pt x="416" y="791"/>
                  <a:pt x="416" y="791"/>
                </a:cubicBezTo>
                <a:cubicBezTo>
                  <a:pt x="412" y="787"/>
                  <a:pt x="410" y="781"/>
                  <a:pt x="411" y="775"/>
                </a:cubicBezTo>
                <a:cubicBezTo>
                  <a:pt x="380" y="745"/>
                  <a:pt x="380" y="745"/>
                  <a:pt x="380" y="745"/>
                </a:cubicBezTo>
                <a:cubicBezTo>
                  <a:pt x="365" y="729"/>
                  <a:pt x="365" y="729"/>
                  <a:pt x="365" y="729"/>
                </a:cubicBezTo>
                <a:cubicBezTo>
                  <a:pt x="364" y="729"/>
                  <a:pt x="364" y="729"/>
                  <a:pt x="364" y="729"/>
                </a:cubicBezTo>
                <a:cubicBezTo>
                  <a:pt x="363" y="729"/>
                  <a:pt x="363" y="729"/>
                  <a:pt x="362" y="729"/>
                </a:cubicBezTo>
                <a:cubicBezTo>
                  <a:pt x="360" y="729"/>
                  <a:pt x="360" y="729"/>
                  <a:pt x="360" y="729"/>
                </a:cubicBezTo>
                <a:cubicBezTo>
                  <a:pt x="360" y="729"/>
                  <a:pt x="360" y="729"/>
                  <a:pt x="359" y="729"/>
                </a:cubicBezTo>
                <a:cubicBezTo>
                  <a:pt x="359" y="729"/>
                  <a:pt x="358" y="729"/>
                  <a:pt x="357" y="729"/>
                </a:cubicBezTo>
                <a:cubicBezTo>
                  <a:pt x="357" y="729"/>
                  <a:pt x="357" y="729"/>
                  <a:pt x="357" y="729"/>
                </a:cubicBezTo>
                <a:cubicBezTo>
                  <a:pt x="296" y="790"/>
                  <a:pt x="296" y="790"/>
                  <a:pt x="296" y="790"/>
                </a:cubicBezTo>
                <a:cubicBezTo>
                  <a:pt x="270" y="816"/>
                  <a:pt x="270" y="816"/>
                  <a:pt x="270" y="816"/>
                </a:cubicBezTo>
                <a:cubicBezTo>
                  <a:pt x="271" y="821"/>
                  <a:pt x="270" y="827"/>
                  <a:pt x="266" y="831"/>
                </a:cubicBezTo>
                <a:cubicBezTo>
                  <a:pt x="259" y="838"/>
                  <a:pt x="249" y="838"/>
                  <a:pt x="242" y="831"/>
                </a:cubicBezTo>
                <a:cubicBezTo>
                  <a:pt x="238" y="827"/>
                  <a:pt x="236" y="821"/>
                  <a:pt x="238" y="816"/>
                </a:cubicBezTo>
                <a:cubicBezTo>
                  <a:pt x="191" y="769"/>
                  <a:pt x="191" y="769"/>
                  <a:pt x="191" y="769"/>
                </a:cubicBezTo>
                <a:cubicBezTo>
                  <a:pt x="188" y="769"/>
                  <a:pt x="186" y="769"/>
                  <a:pt x="184" y="769"/>
                </a:cubicBezTo>
                <a:cubicBezTo>
                  <a:pt x="106" y="846"/>
                  <a:pt x="106" y="846"/>
                  <a:pt x="106" y="846"/>
                </a:cubicBezTo>
                <a:cubicBezTo>
                  <a:pt x="108" y="851"/>
                  <a:pt x="106" y="857"/>
                  <a:pt x="102" y="861"/>
                </a:cubicBezTo>
                <a:cubicBezTo>
                  <a:pt x="96" y="868"/>
                  <a:pt x="85" y="868"/>
                  <a:pt x="78" y="861"/>
                </a:cubicBezTo>
                <a:cubicBezTo>
                  <a:pt x="72" y="855"/>
                  <a:pt x="72" y="844"/>
                  <a:pt x="78" y="838"/>
                </a:cubicBezTo>
                <a:cubicBezTo>
                  <a:pt x="83" y="834"/>
                  <a:pt x="89" y="832"/>
                  <a:pt x="94" y="833"/>
                </a:cubicBezTo>
                <a:cubicBezTo>
                  <a:pt x="171" y="756"/>
                  <a:pt x="171" y="756"/>
                  <a:pt x="171" y="756"/>
                </a:cubicBezTo>
                <a:cubicBezTo>
                  <a:pt x="170" y="751"/>
                  <a:pt x="171" y="745"/>
                  <a:pt x="175" y="741"/>
                </a:cubicBezTo>
                <a:cubicBezTo>
                  <a:pt x="182" y="734"/>
                  <a:pt x="192" y="734"/>
                  <a:pt x="199" y="741"/>
                </a:cubicBezTo>
                <a:cubicBezTo>
                  <a:pt x="203" y="745"/>
                  <a:pt x="205" y="751"/>
                  <a:pt x="203" y="756"/>
                </a:cubicBezTo>
                <a:cubicBezTo>
                  <a:pt x="250" y="803"/>
                  <a:pt x="250" y="803"/>
                  <a:pt x="250" y="803"/>
                </a:cubicBezTo>
                <a:cubicBezTo>
                  <a:pt x="253" y="803"/>
                  <a:pt x="255" y="803"/>
                  <a:pt x="258" y="803"/>
                </a:cubicBezTo>
                <a:cubicBezTo>
                  <a:pt x="332" y="729"/>
                  <a:pt x="332" y="729"/>
                  <a:pt x="332" y="729"/>
                </a:cubicBezTo>
                <a:cubicBezTo>
                  <a:pt x="345" y="716"/>
                  <a:pt x="345" y="716"/>
                  <a:pt x="345" y="716"/>
                </a:cubicBezTo>
                <a:cubicBezTo>
                  <a:pt x="343" y="711"/>
                  <a:pt x="345" y="705"/>
                  <a:pt x="349" y="701"/>
                </a:cubicBezTo>
                <a:cubicBezTo>
                  <a:pt x="352" y="698"/>
                  <a:pt x="356" y="696"/>
                  <a:pt x="359" y="696"/>
                </a:cubicBezTo>
                <a:cubicBezTo>
                  <a:pt x="364" y="695"/>
                  <a:pt x="369" y="697"/>
                  <a:pt x="373" y="701"/>
                </a:cubicBezTo>
                <a:cubicBezTo>
                  <a:pt x="377" y="705"/>
                  <a:pt x="378" y="711"/>
                  <a:pt x="377" y="716"/>
                </a:cubicBezTo>
                <a:cubicBezTo>
                  <a:pt x="384" y="723"/>
                  <a:pt x="384" y="723"/>
                  <a:pt x="384" y="723"/>
                </a:cubicBezTo>
                <a:cubicBezTo>
                  <a:pt x="424" y="763"/>
                  <a:pt x="424" y="763"/>
                  <a:pt x="424" y="763"/>
                </a:cubicBezTo>
                <a:cubicBezTo>
                  <a:pt x="426" y="762"/>
                  <a:pt x="429" y="762"/>
                  <a:pt x="431" y="763"/>
                </a:cubicBezTo>
                <a:cubicBezTo>
                  <a:pt x="507" y="687"/>
                  <a:pt x="507" y="687"/>
                  <a:pt x="507" y="687"/>
                </a:cubicBezTo>
                <a:cubicBezTo>
                  <a:pt x="496" y="685"/>
                  <a:pt x="496" y="685"/>
                  <a:pt x="496" y="685"/>
                </a:cubicBezTo>
                <a:lnTo>
                  <a:pt x="540" y="66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AD581DD-012D-4EF3-A457-C4CBD328DD70}"/>
              </a:ext>
            </a:extLst>
          </p:cNvPr>
          <p:cNvSpPr txBox="1">
            <a:spLocks/>
          </p:cNvSpPr>
          <p:nvPr/>
        </p:nvSpPr>
        <p:spPr bwMode="gray">
          <a:xfrm>
            <a:off x="4500829" y="5646962"/>
            <a:ext cx="1347447" cy="4555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defTabSz="913943">
              <a:lnSpc>
                <a:spcPct val="110000"/>
              </a:lnSpc>
              <a:defRPr spc="12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spc="0" dirty="0">
                <a:solidFill>
                  <a:srgbClr val="00557C"/>
                </a:solidFill>
              </a:rPr>
              <a:t>ПОДВИЖНОЙ СОСТАВ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557C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147CF3F-7314-4BC9-B766-3621A43C89C7}"/>
              </a:ext>
            </a:extLst>
          </p:cNvPr>
          <p:cNvSpPr txBox="1">
            <a:spLocks/>
          </p:cNvSpPr>
          <p:nvPr/>
        </p:nvSpPr>
        <p:spPr bwMode="gray">
          <a:xfrm>
            <a:off x="6267295" y="5646962"/>
            <a:ext cx="1745679" cy="4555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557C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ЖД</a:t>
            </a:r>
            <a:br>
              <a:rPr lang="ru-RU" sz="1400" b="1" dirty="0">
                <a:solidFill>
                  <a:srgbClr val="00557C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400" b="1" dirty="0">
                <a:solidFill>
                  <a:srgbClr val="00557C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ИНФРАСТРУКТУРА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557C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9E525A7E-7A14-4445-BE2C-C915E957A959}"/>
              </a:ext>
            </a:extLst>
          </p:cNvPr>
          <p:cNvSpPr>
            <a:spLocks/>
          </p:cNvSpPr>
          <p:nvPr/>
        </p:nvSpPr>
        <p:spPr bwMode="auto">
          <a:xfrm>
            <a:off x="4672481" y="2647947"/>
            <a:ext cx="2237753" cy="2237753"/>
          </a:xfrm>
          <a:prstGeom prst="ellipse">
            <a:avLst/>
          </a:prstGeom>
          <a:gradFill>
            <a:gsLst>
              <a:gs pos="0">
                <a:srgbClr val="009999"/>
              </a:gs>
              <a:gs pos="100000">
                <a:srgbClr val="009999">
                  <a:alpha val="66000"/>
                </a:srgbClr>
              </a:gs>
            </a:gsLst>
            <a:lin ang="5400000" scaled="1"/>
          </a:gra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6F4FD07-E74F-4E26-AFE3-26122D59CF91}"/>
              </a:ext>
            </a:extLst>
          </p:cNvPr>
          <p:cNvSpPr txBox="1">
            <a:spLocks/>
          </p:cNvSpPr>
          <p:nvPr/>
        </p:nvSpPr>
        <p:spPr bwMode="gray">
          <a:xfrm>
            <a:off x="4908255" y="2883720"/>
            <a:ext cx="1766206" cy="1766206"/>
          </a:xfrm>
          <a:prstGeom prst="rect">
            <a:avLst/>
          </a:prstGeom>
          <a:noFill/>
        </p:spPr>
        <p:txBody>
          <a:bodyPr wrap="square" lIns="0" tIns="0" rIns="0" bIns="0">
            <a:prstTxWarp prst="textArchUp">
              <a:avLst>
                <a:gd name="adj" fmla="val 11169745"/>
              </a:avLst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1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5BB4B744-56AC-44BA-A447-5A27E335212B}"/>
              </a:ext>
            </a:extLst>
          </p:cNvPr>
          <p:cNvSpPr>
            <a:spLocks/>
          </p:cNvSpPr>
          <p:nvPr/>
        </p:nvSpPr>
        <p:spPr bwMode="auto">
          <a:xfrm>
            <a:off x="4617786" y="2603083"/>
            <a:ext cx="2327480" cy="232748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1BD74312-2273-40A8-920D-20AD49E648F8}"/>
              </a:ext>
            </a:extLst>
          </p:cNvPr>
          <p:cNvGrpSpPr>
            <a:grpSpLocks/>
          </p:cNvGrpSpPr>
          <p:nvPr/>
        </p:nvGrpSpPr>
        <p:grpSpPr bwMode="gray">
          <a:xfrm>
            <a:off x="3626978" y="2265764"/>
            <a:ext cx="406355" cy="326830"/>
            <a:chOff x="10628737" y="5107345"/>
            <a:chExt cx="568442" cy="457199"/>
          </a:xfrm>
          <a:solidFill>
            <a:schemeClr val="accent4"/>
          </a:solidFill>
        </p:grpSpPr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EA71A2E5-DF41-45E6-8E2B-552724FEDD62}"/>
                </a:ext>
              </a:extLst>
            </p:cNvPr>
            <p:cNvSpPr/>
            <p:nvPr/>
          </p:nvSpPr>
          <p:spPr bwMode="gray">
            <a:xfrm>
              <a:off x="10697931" y="5390955"/>
              <a:ext cx="180190" cy="21270"/>
            </a:xfrm>
            <a:custGeom>
              <a:avLst/>
              <a:gdLst>
                <a:gd name="connsiteX0" fmla="*/ 0 w 180190"/>
                <a:gd name="connsiteY0" fmla="*/ 0 h 21270"/>
                <a:gd name="connsiteX1" fmla="*/ 180190 w 180190"/>
                <a:gd name="connsiteY1" fmla="*/ 0 h 21270"/>
                <a:gd name="connsiteX2" fmla="*/ 180190 w 180190"/>
                <a:gd name="connsiteY2" fmla="*/ 21271 h 21270"/>
                <a:gd name="connsiteX3" fmla="*/ 0 w 180190"/>
                <a:gd name="connsiteY3" fmla="*/ 21271 h 2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90" h="21270">
                  <a:moveTo>
                    <a:pt x="0" y="0"/>
                  </a:moveTo>
                  <a:lnTo>
                    <a:pt x="180190" y="0"/>
                  </a:lnTo>
                  <a:lnTo>
                    <a:pt x="180190" y="21271"/>
                  </a:lnTo>
                  <a:lnTo>
                    <a:pt x="0" y="21271"/>
                  </a:ln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A3F5399-14C3-443E-8ADF-9A072D81DF78}"/>
                </a:ext>
              </a:extLst>
            </p:cNvPr>
            <p:cNvSpPr/>
            <p:nvPr/>
          </p:nvSpPr>
          <p:spPr bwMode="gray">
            <a:xfrm>
              <a:off x="10947556" y="5390955"/>
              <a:ext cx="180190" cy="21270"/>
            </a:xfrm>
            <a:custGeom>
              <a:avLst/>
              <a:gdLst>
                <a:gd name="connsiteX0" fmla="*/ 0 w 180190"/>
                <a:gd name="connsiteY0" fmla="*/ 0 h 21270"/>
                <a:gd name="connsiteX1" fmla="*/ 180190 w 180190"/>
                <a:gd name="connsiteY1" fmla="*/ 0 h 21270"/>
                <a:gd name="connsiteX2" fmla="*/ 180190 w 180190"/>
                <a:gd name="connsiteY2" fmla="*/ 21271 h 21270"/>
                <a:gd name="connsiteX3" fmla="*/ 0 w 180190"/>
                <a:gd name="connsiteY3" fmla="*/ 21271 h 21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190" h="21270">
                  <a:moveTo>
                    <a:pt x="0" y="0"/>
                  </a:moveTo>
                  <a:lnTo>
                    <a:pt x="180190" y="0"/>
                  </a:lnTo>
                  <a:lnTo>
                    <a:pt x="180190" y="21271"/>
                  </a:lnTo>
                  <a:lnTo>
                    <a:pt x="0" y="21271"/>
                  </a:ln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2172C779-1C82-4518-84BE-28196405DEDE}"/>
                </a:ext>
              </a:extLst>
            </p:cNvPr>
            <p:cNvSpPr/>
            <p:nvPr/>
          </p:nvSpPr>
          <p:spPr bwMode="gray">
            <a:xfrm>
              <a:off x="10628737" y="5107345"/>
              <a:ext cx="568442" cy="457199"/>
            </a:xfrm>
            <a:custGeom>
              <a:avLst/>
              <a:gdLst>
                <a:gd name="connsiteX0" fmla="*/ 540571 w 568442"/>
                <a:gd name="connsiteY0" fmla="*/ 0 h 457199"/>
                <a:gd name="connsiteX1" fmla="*/ 27872 w 568442"/>
                <a:gd name="connsiteY1" fmla="*/ 0 h 457199"/>
                <a:gd name="connsiteX2" fmla="*/ 0 w 568442"/>
                <a:gd name="connsiteY2" fmla="*/ 27628 h 457199"/>
                <a:gd name="connsiteX3" fmla="*/ 0 w 568442"/>
                <a:gd name="connsiteY3" fmla="*/ 346444 h 457199"/>
                <a:gd name="connsiteX4" fmla="*/ 27872 w 568442"/>
                <a:gd name="connsiteY4" fmla="*/ 374072 h 457199"/>
                <a:gd name="connsiteX5" fmla="*/ 235690 w 568442"/>
                <a:gd name="connsiteY5" fmla="*/ 374072 h 457199"/>
                <a:gd name="connsiteX6" fmla="*/ 235690 w 568442"/>
                <a:gd name="connsiteY6" fmla="*/ 429571 h 457199"/>
                <a:gd name="connsiteX7" fmla="*/ 166254 w 568442"/>
                <a:gd name="connsiteY7" fmla="*/ 429571 h 457199"/>
                <a:gd name="connsiteX8" fmla="*/ 166254 w 568442"/>
                <a:gd name="connsiteY8" fmla="*/ 457199 h 457199"/>
                <a:gd name="connsiteX9" fmla="*/ 401944 w 568442"/>
                <a:gd name="connsiteY9" fmla="*/ 457199 h 457199"/>
                <a:gd name="connsiteX10" fmla="*/ 401944 w 568442"/>
                <a:gd name="connsiteY10" fmla="*/ 429571 h 457199"/>
                <a:gd name="connsiteX11" fmla="*/ 332753 w 568442"/>
                <a:gd name="connsiteY11" fmla="*/ 429571 h 457199"/>
                <a:gd name="connsiteX12" fmla="*/ 332753 w 568442"/>
                <a:gd name="connsiteY12" fmla="*/ 374072 h 457199"/>
                <a:gd name="connsiteX13" fmla="*/ 540571 w 568442"/>
                <a:gd name="connsiteY13" fmla="*/ 374072 h 457199"/>
                <a:gd name="connsiteX14" fmla="*/ 568443 w 568442"/>
                <a:gd name="connsiteY14" fmla="*/ 346444 h 457199"/>
                <a:gd name="connsiteX15" fmla="*/ 568443 w 568442"/>
                <a:gd name="connsiteY15" fmla="*/ 27628 h 457199"/>
                <a:gd name="connsiteX16" fmla="*/ 540571 w 568442"/>
                <a:gd name="connsiteY16" fmla="*/ 0 h 457199"/>
                <a:gd name="connsiteX17" fmla="*/ 540571 w 568442"/>
                <a:gd name="connsiteY17" fmla="*/ 346444 h 457199"/>
                <a:gd name="connsiteX18" fmla="*/ 27628 w 568442"/>
                <a:gd name="connsiteY18" fmla="*/ 346444 h 457199"/>
                <a:gd name="connsiteX19" fmla="*/ 27628 w 568442"/>
                <a:gd name="connsiteY19" fmla="*/ 27628 h 457199"/>
                <a:gd name="connsiteX20" fmla="*/ 540571 w 568442"/>
                <a:gd name="connsiteY20" fmla="*/ 27628 h 457199"/>
                <a:gd name="connsiteX21" fmla="*/ 540571 w 568442"/>
                <a:gd name="connsiteY21" fmla="*/ 346444 h 45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68442" h="457199">
                  <a:moveTo>
                    <a:pt x="540571" y="0"/>
                  </a:moveTo>
                  <a:lnTo>
                    <a:pt x="27872" y="0"/>
                  </a:lnTo>
                  <a:cubicBezTo>
                    <a:pt x="12469" y="0"/>
                    <a:pt x="0" y="12469"/>
                    <a:pt x="0" y="27628"/>
                  </a:cubicBezTo>
                  <a:lnTo>
                    <a:pt x="0" y="346444"/>
                  </a:lnTo>
                  <a:cubicBezTo>
                    <a:pt x="0" y="361847"/>
                    <a:pt x="12469" y="374072"/>
                    <a:pt x="27872" y="374072"/>
                  </a:cubicBezTo>
                  <a:lnTo>
                    <a:pt x="235690" y="374072"/>
                  </a:lnTo>
                  <a:lnTo>
                    <a:pt x="235690" y="429571"/>
                  </a:lnTo>
                  <a:lnTo>
                    <a:pt x="166254" y="429571"/>
                  </a:lnTo>
                  <a:lnTo>
                    <a:pt x="166254" y="457199"/>
                  </a:lnTo>
                  <a:lnTo>
                    <a:pt x="401944" y="457199"/>
                  </a:lnTo>
                  <a:lnTo>
                    <a:pt x="401944" y="429571"/>
                  </a:lnTo>
                  <a:lnTo>
                    <a:pt x="332753" y="429571"/>
                  </a:lnTo>
                  <a:lnTo>
                    <a:pt x="332753" y="374072"/>
                  </a:lnTo>
                  <a:lnTo>
                    <a:pt x="540571" y="374072"/>
                  </a:lnTo>
                  <a:cubicBezTo>
                    <a:pt x="555973" y="374072"/>
                    <a:pt x="568443" y="361603"/>
                    <a:pt x="568443" y="346444"/>
                  </a:cubicBezTo>
                  <a:lnTo>
                    <a:pt x="568443" y="27628"/>
                  </a:lnTo>
                  <a:cubicBezTo>
                    <a:pt x="568443" y="12469"/>
                    <a:pt x="555973" y="0"/>
                    <a:pt x="540571" y="0"/>
                  </a:cubicBezTo>
                  <a:close/>
                  <a:moveTo>
                    <a:pt x="540571" y="346444"/>
                  </a:moveTo>
                  <a:lnTo>
                    <a:pt x="27628" y="346444"/>
                  </a:lnTo>
                  <a:lnTo>
                    <a:pt x="27628" y="27628"/>
                  </a:lnTo>
                  <a:lnTo>
                    <a:pt x="540571" y="27628"/>
                  </a:lnTo>
                  <a:lnTo>
                    <a:pt x="540571" y="346444"/>
                  </a:ln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D085EE25-D9F9-403C-AA5B-D9454748E39B}"/>
                </a:ext>
              </a:extLst>
            </p:cNvPr>
            <p:cNvSpPr/>
            <p:nvPr/>
          </p:nvSpPr>
          <p:spPr bwMode="gray">
            <a:xfrm>
              <a:off x="10947312" y="5255995"/>
              <a:ext cx="180679" cy="114666"/>
            </a:xfrm>
            <a:custGeom>
              <a:avLst/>
              <a:gdLst>
                <a:gd name="connsiteX0" fmla="*/ 14181 w 180679"/>
                <a:gd name="connsiteY0" fmla="*/ 114666 h 114666"/>
                <a:gd name="connsiteX1" fmla="*/ 28361 w 180679"/>
                <a:gd name="connsiteY1" fmla="*/ 100486 h 114666"/>
                <a:gd name="connsiteX2" fmla="*/ 27628 w 180679"/>
                <a:gd name="connsiteY2" fmla="*/ 96085 h 114666"/>
                <a:gd name="connsiteX3" fmla="*/ 58189 w 180679"/>
                <a:gd name="connsiteY3" fmla="*/ 70658 h 114666"/>
                <a:gd name="connsiteX4" fmla="*/ 64790 w 180679"/>
                <a:gd name="connsiteY4" fmla="*/ 72369 h 114666"/>
                <a:gd name="connsiteX5" fmla="*/ 74814 w 180679"/>
                <a:gd name="connsiteY5" fmla="*/ 68213 h 114666"/>
                <a:gd name="connsiteX6" fmla="*/ 101464 w 180679"/>
                <a:gd name="connsiteY6" fmla="*/ 79215 h 114666"/>
                <a:gd name="connsiteX7" fmla="*/ 101464 w 180679"/>
                <a:gd name="connsiteY7" fmla="*/ 79460 h 114666"/>
                <a:gd name="connsiteX8" fmla="*/ 115644 w 180679"/>
                <a:gd name="connsiteY8" fmla="*/ 93640 h 114666"/>
                <a:gd name="connsiteX9" fmla="*/ 129825 w 180679"/>
                <a:gd name="connsiteY9" fmla="*/ 79460 h 114666"/>
                <a:gd name="connsiteX10" fmla="*/ 127869 w 180679"/>
                <a:gd name="connsiteY10" fmla="*/ 72369 h 114666"/>
                <a:gd name="connsiteX11" fmla="*/ 162587 w 180679"/>
                <a:gd name="connsiteY11" fmla="*/ 27872 h 114666"/>
                <a:gd name="connsiteX12" fmla="*/ 166499 w 180679"/>
                <a:gd name="connsiteY12" fmla="*/ 28361 h 114666"/>
                <a:gd name="connsiteX13" fmla="*/ 180679 w 180679"/>
                <a:gd name="connsiteY13" fmla="*/ 14181 h 114666"/>
                <a:gd name="connsiteX14" fmla="*/ 166499 w 180679"/>
                <a:gd name="connsiteY14" fmla="*/ 0 h 114666"/>
                <a:gd name="connsiteX15" fmla="*/ 152318 w 180679"/>
                <a:gd name="connsiteY15" fmla="*/ 14181 h 114666"/>
                <a:gd name="connsiteX16" fmla="*/ 154274 w 180679"/>
                <a:gd name="connsiteY16" fmla="*/ 21271 h 114666"/>
                <a:gd name="connsiteX17" fmla="*/ 119556 w 180679"/>
                <a:gd name="connsiteY17" fmla="*/ 65768 h 114666"/>
                <a:gd name="connsiteX18" fmla="*/ 115644 w 180679"/>
                <a:gd name="connsiteY18" fmla="*/ 65279 h 114666"/>
                <a:gd name="connsiteX19" fmla="*/ 105620 w 180679"/>
                <a:gd name="connsiteY19" fmla="*/ 69436 h 114666"/>
                <a:gd name="connsiteX20" fmla="*/ 78971 w 180679"/>
                <a:gd name="connsiteY20" fmla="*/ 58433 h 114666"/>
                <a:gd name="connsiteX21" fmla="*/ 78971 w 180679"/>
                <a:gd name="connsiteY21" fmla="*/ 58189 h 114666"/>
                <a:gd name="connsiteX22" fmla="*/ 64790 w 180679"/>
                <a:gd name="connsiteY22" fmla="*/ 44008 h 114666"/>
                <a:gd name="connsiteX23" fmla="*/ 50610 w 180679"/>
                <a:gd name="connsiteY23" fmla="*/ 58189 h 114666"/>
                <a:gd name="connsiteX24" fmla="*/ 51343 w 180679"/>
                <a:gd name="connsiteY24" fmla="*/ 62590 h 114666"/>
                <a:gd name="connsiteX25" fmla="*/ 20782 w 180679"/>
                <a:gd name="connsiteY25" fmla="*/ 88017 h 114666"/>
                <a:gd name="connsiteX26" fmla="*/ 20782 w 180679"/>
                <a:gd name="connsiteY26" fmla="*/ 88017 h 114666"/>
                <a:gd name="connsiteX27" fmla="*/ 14181 w 180679"/>
                <a:gd name="connsiteY27" fmla="*/ 86305 h 114666"/>
                <a:gd name="connsiteX28" fmla="*/ 0 w 180679"/>
                <a:gd name="connsiteY28" fmla="*/ 100486 h 114666"/>
                <a:gd name="connsiteX29" fmla="*/ 14181 w 180679"/>
                <a:gd name="connsiteY29" fmla="*/ 114666 h 11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679" h="114666">
                  <a:moveTo>
                    <a:pt x="14181" y="114666"/>
                  </a:moveTo>
                  <a:cubicBezTo>
                    <a:pt x="22004" y="114666"/>
                    <a:pt x="28361" y="108310"/>
                    <a:pt x="28361" y="100486"/>
                  </a:cubicBezTo>
                  <a:cubicBezTo>
                    <a:pt x="28361" y="99019"/>
                    <a:pt x="28117" y="97552"/>
                    <a:pt x="27628" y="96085"/>
                  </a:cubicBezTo>
                  <a:lnTo>
                    <a:pt x="58189" y="70658"/>
                  </a:lnTo>
                  <a:cubicBezTo>
                    <a:pt x="60145" y="71636"/>
                    <a:pt x="62345" y="72369"/>
                    <a:pt x="64790" y="72369"/>
                  </a:cubicBezTo>
                  <a:cubicBezTo>
                    <a:pt x="68702" y="72369"/>
                    <a:pt x="72369" y="70658"/>
                    <a:pt x="74814" y="68213"/>
                  </a:cubicBezTo>
                  <a:lnTo>
                    <a:pt x="101464" y="79215"/>
                  </a:lnTo>
                  <a:cubicBezTo>
                    <a:pt x="101464" y="79215"/>
                    <a:pt x="101464" y="79215"/>
                    <a:pt x="101464" y="79460"/>
                  </a:cubicBezTo>
                  <a:cubicBezTo>
                    <a:pt x="101464" y="87283"/>
                    <a:pt x="107821" y="93640"/>
                    <a:pt x="115644" y="93640"/>
                  </a:cubicBezTo>
                  <a:cubicBezTo>
                    <a:pt x="123468" y="93640"/>
                    <a:pt x="129825" y="87283"/>
                    <a:pt x="129825" y="79460"/>
                  </a:cubicBezTo>
                  <a:cubicBezTo>
                    <a:pt x="129825" y="76770"/>
                    <a:pt x="129091" y="74570"/>
                    <a:pt x="127869" y="72369"/>
                  </a:cubicBezTo>
                  <a:lnTo>
                    <a:pt x="162587" y="27872"/>
                  </a:lnTo>
                  <a:cubicBezTo>
                    <a:pt x="163809" y="28117"/>
                    <a:pt x="165032" y="28361"/>
                    <a:pt x="166499" y="28361"/>
                  </a:cubicBezTo>
                  <a:cubicBezTo>
                    <a:pt x="174322" y="28361"/>
                    <a:pt x="180679" y="22004"/>
                    <a:pt x="180679" y="14181"/>
                  </a:cubicBezTo>
                  <a:cubicBezTo>
                    <a:pt x="180679" y="6357"/>
                    <a:pt x="174322" y="0"/>
                    <a:pt x="166499" y="0"/>
                  </a:cubicBezTo>
                  <a:cubicBezTo>
                    <a:pt x="158675" y="0"/>
                    <a:pt x="152318" y="6357"/>
                    <a:pt x="152318" y="14181"/>
                  </a:cubicBezTo>
                  <a:cubicBezTo>
                    <a:pt x="152318" y="16870"/>
                    <a:pt x="153052" y="19070"/>
                    <a:pt x="154274" y="21271"/>
                  </a:cubicBezTo>
                  <a:lnTo>
                    <a:pt x="119556" y="65768"/>
                  </a:lnTo>
                  <a:cubicBezTo>
                    <a:pt x="118334" y="65524"/>
                    <a:pt x="117111" y="65279"/>
                    <a:pt x="115644" y="65279"/>
                  </a:cubicBezTo>
                  <a:cubicBezTo>
                    <a:pt x="111733" y="65279"/>
                    <a:pt x="108065" y="66991"/>
                    <a:pt x="105620" y="69436"/>
                  </a:cubicBezTo>
                  <a:lnTo>
                    <a:pt x="78971" y="58433"/>
                  </a:lnTo>
                  <a:cubicBezTo>
                    <a:pt x="78971" y="58433"/>
                    <a:pt x="78971" y="58433"/>
                    <a:pt x="78971" y="58189"/>
                  </a:cubicBezTo>
                  <a:cubicBezTo>
                    <a:pt x="78971" y="50365"/>
                    <a:pt x="72614" y="44008"/>
                    <a:pt x="64790" y="44008"/>
                  </a:cubicBezTo>
                  <a:cubicBezTo>
                    <a:pt x="56967" y="44008"/>
                    <a:pt x="50610" y="50365"/>
                    <a:pt x="50610" y="58189"/>
                  </a:cubicBezTo>
                  <a:cubicBezTo>
                    <a:pt x="50610" y="59656"/>
                    <a:pt x="50854" y="61123"/>
                    <a:pt x="51343" y="62590"/>
                  </a:cubicBezTo>
                  <a:lnTo>
                    <a:pt x="20782" y="88017"/>
                  </a:lnTo>
                  <a:cubicBezTo>
                    <a:pt x="20782" y="88017"/>
                    <a:pt x="20782" y="88017"/>
                    <a:pt x="20782" y="88017"/>
                  </a:cubicBezTo>
                  <a:cubicBezTo>
                    <a:pt x="18826" y="87039"/>
                    <a:pt x="16625" y="86305"/>
                    <a:pt x="14181" y="86305"/>
                  </a:cubicBezTo>
                  <a:cubicBezTo>
                    <a:pt x="6357" y="86305"/>
                    <a:pt x="0" y="92662"/>
                    <a:pt x="0" y="100486"/>
                  </a:cubicBezTo>
                  <a:cubicBezTo>
                    <a:pt x="244" y="108310"/>
                    <a:pt x="6601" y="114666"/>
                    <a:pt x="14181" y="114666"/>
                  </a:cubicBez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B5B4103C-EDCF-468B-A9DD-515DA13072C8}"/>
                </a:ext>
              </a:extLst>
            </p:cNvPr>
            <p:cNvSpPr/>
            <p:nvPr/>
          </p:nvSpPr>
          <p:spPr bwMode="gray">
            <a:xfrm>
              <a:off x="10947556" y="5176536"/>
              <a:ext cx="180679" cy="114666"/>
            </a:xfrm>
            <a:custGeom>
              <a:avLst/>
              <a:gdLst>
                <a:gd name="connsiteX0" fmla="*/ 14181 w 180679"/>
                <a:gd name="connsiteY0" fmla="*/ 114666 h 114666"/>
                <a:gd name="connsiteX1" fmla="*/ 28361 w 180679"/>
                <a:gd name="connsiteY1" fmla="*/ 100486 h 114666"/>
                <a:gd name="connsiteX2" fmla="*/ 26405 w 180679"/>
                <a:gd name="connsiteY2" fmla="*/ 93396 h 114666"/>
                <a:gd name="connsiteX3" fmla="*/ 61123 w 180679"/>
                <a:gd name="connsiteY3" fmla="*/ 48898 h 114666"/>
                <a:gd name="connsiteX4" fmla="*/ 65035 w 180679"/>
                <a:gd name="connsiteY4" fmla="*/ 49387 h 114666"/>
                <a:gd name="connsiteX5" fmla="*/ 75059 w 180679"/>
                <a:gd name="connsiteY5" fmla="*/ 45231 h 114666"/>
                <a:gd name="connsiteX6" fmla="*/ 101708 w 180679"/>
                <a:gd name="connsiteY6" fmla="*/ 56233 h 114666"/>
                <a:gd name="connsiteX7" fmla="*/ 101708 w 180679"/>
                <a:gd name="connsiteY7" fmla="*/ 56478 h 114666"/>
                <a:gd name="connsiteX8" fmla="*/ 115889 w 180679"/>
                <a:gd name="connsiteY8" fmla="*/ 70658 h 114666"/>
                <a:gd name="connsiteX9" fmla="*/ 130069 w 180679"/>
                <a:gd name="connsiteY9" fmla="*/ 56478 h 114666"/>
                <a:gd name="connsiteX10" fmla="*/ 129336 w 180679"/>
                <a:gd name="connsiteY10" fmla="*/ 52077 h 114666"/>
                <a:gd name="connsiteX11" fmla="*/ 159897 w 180679"/>
                <a:gd name="connsiteY11" fmla="*/ 26650 h 114666"/>
                <a:gd name="connsiteX12" fmla="*/ 159897 w 180679"/>
                <a:gd name="connsiteY12" fmla="*/ 26650 h 114666"/>
                <a:gd name="connsiteX13" fmla="*/ 166499 w 180679"/>
                <a:gd name="connsiteY13" fmla="*/ 28361 h 114666"/>
                <a:gd name="connsiteX14" fmla="*/ 180679 w 180679"/>
                <a:gd name="connsiteY14" fmla="*/ 14181 h 114666"/>
                <a:gd name="connsiteX15" fmla="*/ 166499 w 180679"/>
                <a:gd name="connsiteY15" fmla="*/ 0 h 114666"/>
                <a:gd name="connsiteX16" fmla="*/ 152318 w 180679"/>
                <a:gd name="connsiteY16" fmla="*/ 14181 h 114666"/>
                <a:gd name="connsiteX17" fmla="*/ 153052 w 180679"/>
                <a:gd name="connsiteY17" fmla="*/ 18581 h 114666"/>
                <a:gd name="connsiteX18" fmla="*/ 122490 w 180679"/>
                <a:gd name="connsiteY18" fmla="*/ 44008 h 114666"/>
                <a:gd name="connsiteX19" fmla="*/ 115889 w 180679"/>
                <a:gd name="connsiteY19" fmla="*/ 42297 h 114666"/>
                <a:gd name="connsiteX20" fmla="*/ 105865 w 180679"/>
                <a:gd name="connsiteY20" fmla="*/ 46453 h 114666"/>
                <a:gd name="connsiteX21" fmla="*/ 79215 w 180679"/>
                <a:gd name="connsiteY21" fmla="*/ 35451 h 114666"/>
                <a:gd name="connsiteX22" fmla="*/ 79215 w 180679"/>
                <a:gd name="connsiteY22" fmla="*/ 35207 h 114666"/>
                <a:gd name="connsiteX23" fmla="*/ 65035 w 180679"/>
                <a:gd name="connsiteY23" fmla="*/ 21026 h 114666"/>
                <a:gd name="connsiteX24" fmla="*/ 50854 w 180679"/>
                <a:gd name="connsiteY24" fmla="*/ 35207 h 114666"/>
                <a:gd name="connsiteX25" fmla="*/ 52810 w 180679"/>
                <a:gd name="connsiteY25" fmla="*/ 42297 h 114666"/>
                <a:gd name="connsiteX26" fmla="*/ 18092 w 180679"/>
                <a:gd name="connsiteY26" fmla="*/ 86794 h 114666"/>
                <a:gd name="connsiteX27" fmla="*/ 14181 w 180679"/>
                <a:gd name="connsiteY27" fmla="*/ 86305 h 114666"/>
                <a:gd name="connsiteX28" fmla="*/ 0 w 180679"/>
                <a:gd name="connsiteY28" fmla="*/ 100486 h 114666"/>
                <a:gd name="connsiteX29" fmla="*/ 14181 w 180679"/>
                <a:gd name="connsiteY29" fmla="*/ 114666 h 11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679" h="114666">
                  <a:moveTo>
                    <a:pt x="14181" y="114666"/>
                  </a:moveTo>
                  <a:cubicBezTo>
                    <a:pt x="22004" y="114666"/>
                    <a:pt x="28361" y="108310"/>
                    <a:pt x="28361" y="100486"/>
                  </a:cubicBezTo>
                  <a:cubicBezTo>
                    <a:pt x="28361" y="97797"/>
                    <a:pt x="27628" y="95596"/>
                    <a:pt x="26405" y="93396"/>
                  </a:cubicBezTo>
                  <a:lnTo>
                    <a:pt x="61123" y="48898"/>
                  </a:lnTo>
                  <a:cubicBezTo>
                    <a:pt x="62345" y="49143"/>
                    <a:pt x="63568" y="49387"/>
                    <a:pt x="65035" y="49387"/>
                  </a:cubicBezTo>
                  <a:cubicBezTo>
                    <a:pt x="68947" y="49387"/>
                    <a:pt x="72614" y="47676"/>
                    <a:pt x="75059" y="45231"/>
                  </a:cubicBezTo>
                  <a:lnTo>
                    <a:pt x="101708" y="56233"/>
                  </a:lnTo>
                  <a:cubicBezTo>
                    <a:pt x="101708" y="56233"/>
                    <a:pt x="101708" y="56233"/>
                    <a:pt x="101708" y="56478"/>
                  </a:cubicBezTo>
                  <a:cubicBezTo>
                    <a:pt x="101708" y="64301"/>
                    <a:pt x="108065" y="70658"/>
                    <a:pt x="115889" y="70658"/>
                  </a:cubicBezTo>
                  <a:cubicBezTo>
                    <a:pt x="123713" y="70658"/>
                    <a:pt x="130069" y="64301"/>
                    <a:pt x="130069" y="56478"/>
                  </a:cubicBezTo>
                  <a:cubicBezTo>
                    <a:pt x="130069" y="55011"/>
                    <a:pt x="129825" y="53544"/>
                    <a:pt x="129336" y="52077"/>
                  </a:cubicBezTo>
                  <a:lnTo>
                    <a:pt x="159897" y="26650"/>
                  </a:lnTo>
                  <a:cubicBezTo>
                    <a:pt x="159897" y="26650"/>
                    <a:pt x="159897" y="26650"/>
                    <a:pt x="159897" y="26650"/>
                  </a:cubicBezTo>
                  <a:cubicBezTo>
                    <a:pt x="161853" y="27628"/>
                    <a:pt x="164054" y="28361"/>
                    <a:pt x="166499" y="28361"/>
                  </a:cubicBezTo>
                  <a:cubicBezTo>
                    <a:pt x="174322" y="28361"/>
                    <a:pt x="180679" y="22004"/>
                    <a:pt x="180679" y="14181"/>
                  </a:cubicBezTo>
                  <a:cubicBezTo>
                    <a:pt x="180679" y="6357"/>
                    <a:pt x="174322" y="0"/>
                    <a:pt x="166499" y="0"/>
                  </a:cubicBezTo>
                  <a:cubicBezTo>
                    <a:pt x="158675" y="0"/>
                    <a:pt x="152318" y="6357"/>
                    <a:pt x="152318" y="14181"/>
                  </a:cubicBezTo>
                  <a:cubicBezTo>
                    <a:pt x="152318" y="15647"/>
                    <a:pt x="152563" y="17114"/>
                    <a:pt x="153052" y="18581"/>
                  </a:cubicBezTo>
                  <a:lnTo>
                    <a:pt x="122490" y="44008"/>
                  </a:lnTo>
                  <a:cubicBezTo>
                    <a:pt x="120534" y="43031"/>
                    <a:pt x="118334" y="42297"/>
                    <a:pt x="115889" y="42297"/>
                  </a:cubicBezTo>
                  <a:cubicBezTo>
                    <a:pt x="111977" y="42297"/>
                    <a:pt x="108310" y="44008"/>
                    <a:pt x="105865" y="46453"/>
                  </a:cubicBezTo>
                  <a:lnTo>
                    <a:pt x="79215" y="35451"/>
                  </a:lnTo>
                  <a:cubicBezTo>
                    <a:pt x="79215" y="35451"/>
                    <a:pt x="79215" y="35451"/>
                    <a:pt x="79215" y="35207"/>
                  </a:cubicBezTo>
                  <a:cubicBezTo>
                    <a:pt x="79215" y="27383"/>
                    <a:pt x="72858" y="21026"/>
                    <a:pt x="65035" y="21026"/>
                  </a:cubicBezTo>
                  <a:cubicBezTo>
                    <a:pt x="57211" y="21026"/>
                    <a:pt x="50854" y="27383"/>
                    <a:pt x="50854" y="35207"/>
                  </a:cubicBezTo>
                  <a:cubicBezTo>
                    <a:pt x="50854" y="37896"/>
                    <a:pt x="51588" y="40097"/>
                    <a:pt x="52810" y="42297"/>
                  </a:cubicBezTo>
                  <a:lnTo>
                    <a:pt x="18092" y="86794"/>
                  </a:lnTo>
                  <a:cubicBezTo>
                    <a:pt x="16870" y="86550"/>
                    <a:pt x="15647" y="86305"/>
                    <a:pt x="14181" y="86305"/>
                  </a:cubicBezTo>
                  <a:cubicBezTo>
                    <a:pt x="6357" y="86305"/>
                    <a:pt x="0" y="92662"/>
                    <a:pt x="0" y="100486"/>
                  </a:cubicBezTo>
                  <a:cubicBezTo>
                    <a:pt x="0" y="108310"/>
                    <a:pt x="6357" y="114666"/>
                    <a:pt x="14181" y="114666"/>
                  </a:cubicBez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284DB5DF-37F6-455D-8ED4-2ED4CE254C60}"/>
                </a:ext>
              </a:extLst>
            </p:cNvPr>
            <p:cNvSpPr/>
            <p:nvPr/>
          </p:nvSpPr>
          <p:spPr bwMode="gray">
            <a:xfrm>
              <a:off x="10697931" y="5301471"/>
              <a:ext cx="41563" cy="69191"/>
            </a:xfrm>
            <a:custGeom>
              <a:avLst/>
              <a:gdLst>
                <a:gd name="connsiteX0" fmla="*/ 0 w 41563"/>
                <a:gd name="connsiteY0" fmla="*/ 0 h 69191"/>
                <a:gd name="connsiteX1" fmla="*/ 41564 w 41563"/>
                <a:gd name="connsiteY1" fmla="*/ 0 h 69191"/>
                <a:gd name="connsiteX2" fmla="*/ 41564 w 41563"/>
                <a:gd name="connsiteY2" fmla="*/ 69191 h 69191"/>
                <a:gd name="connsiteX3" fmla="*/ 0 w 41563"/>
                <a:gd name="connsiteY3" fmla="*/ 69191 h 69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63" h="69191">
                  <a:moveTo>
                    <a:pt x="0" y="0"/>
                  </a:moveTo>
                  <a:lnTo>
                    <a:pt x="41564" y="0"/>
                  </a:lnTo>
                  <a:lnTo>
                    <a:pt x="41564" y="69191"/>
                  </a:lnTo>
                  <a:lnTo>
                    <a:pt x="0" y="69191"/>
                  </a:ln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5488FAA6-ED96-4931-84C6-BFC6FF643C24}"/>
                </a:ext>
              </a:extLst>
            </p:cNvPr>
            <p:cNvSpPr/>
            <p:nvPr/>
          </p:nvSpPr>
          <p:spPr bwMode="gray">
            <a:xfrm>
              <a:off x="10767366" y="5232035"/>
              <a:ext cx="41563" cy="138626"/>
            </a:xfrm>
            <a:custGeom>
              <a:avLst/>
              <a:gdLst>
                <a:gd name="connsiteX0" fmla="*/ 0 w 41563"/>
                <a:gd name="connsiteY0" fmla="*/ 0 h 138626"/>
                <a:gd name="connsiteX1" fmla="*/ 41564 w 41563"/>
                <a:gd name="connsiteY1" fmla="*/ 0 h 138626"/>
                <a:gd name="connsiteX2" fmla="*/ 41564 w 41563"/>
                <a:gd name="connsiteY2" fmla="*/ 138627 h 138626"/>
                <a:gd name="connsiteX3" fmla="*/ 0 w 41563"/>
                <a:gd name="connsiteY3" fmla="*/ 138627 h 13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63" h="138626">
                  <a:moveTo>
                    <a:pt x="0" y="0"/>
                  </a:moveTo>
                  <a:lnTo>
                    <a:pt x="41564" y="0"/>
                  </a:lnTo>
                  <a:lnTo>
                    <a:pt x="41564" y="138627"/>
                  </a:lnTo>
                  <a:lnTo>
                    <a:pt x="0" y="138627"/>
                  </a:ln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7570108-74FF-437D-BC3E-5762E3E56C5A}"/>
                </a:ext>
              </a:extLst>
            </p:cNvPr>
            <p:cNvSpPr/>
            <p:nvPr/>
          </p:nvSpPr>
          <p:spPr bwMode="gray">
            <a:xfrm>
              <a:off x="10836557" y="5176536"/>
              <a:ext cx="41563" cy="194126"/>
            </a:xfrm>
            <a:custGeom>
              <a:avLst/>
              <a:gdLst>
                <a:gd name="connsiteX0" fmla="*/ 0 w 41563"/>
                <a:gd name="connsiteY0" fmla="*/ 0 h 194126"/>
                <a:gd name="connsiteX1" fmla="*/ 41564 w 41563"/>
                <a:gd name="connsiteY1" fmla="*/ 0 h 194126"/>
                <a:gd name="connsiteX2" fmla="*/ 41564 w 41563"/>
                <a:gd name="connsiteY2" fmla="*/ 194126 h 194126"/>
                <a:gd name="connsiteX3" fmla="*/ 0 w 41563"/>
                <a:gd name="connsiteY3" fmla="*/ 194126 h 194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63" h="194126">
                  <a:moveTo>
                    <a:pt x="0" y="0"/>
                  </a:moveTo>
                  <a:lnTo>
                    <a:pt x="41564" y="0"/>
                  </a:lnTo>
                  <a:lnTo>
                    <a:pt x="41564" y="194126"/>
                  </a:lnTo>
                  <a:lnTo>
                    <a:pt x="0" y="194126"/>
                  </a:lnTo>
                  <a:close/>
                </a:path>
              </a:pathLst>
            </a:custGeom>
            <a:grpFill/>
            <a:ln w="24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Ellipse 20">
            <a:extLst>
              <a:ext uri="{FF2B5EF4-FFF2-40B4-BE49-F238E27FC236}">
                <a16:creationId xmlns:a16="http://schemas.microsoft.com/office/drawing/2014/main" id="{A06E16C2-4848-4BB5-9821-7703D1078B44}"/>
              </a:ext>
            </a:extLst>
          </p:cNvPr>
          <p:cNvSpPr>
            <a:spLocks/>
          </p:cNvSpPr>
          <p:nvPr/>
        </p:nvSpPr>
        <p:spPr bwMode="auto">
          <a:xfrm>
            <a:off x="3469975" y="2068999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8583070-BCD0-48B7-B9CB-D9B8DA3FB5C6}"/>
              </a:ext>
            </a:extLst>
          </p:cNvPr>
          <p:cNvSpPr>
            <a:spLocks/>
          </p:cNvSpPr>
          <p:nvPr/>
        </p:nvSpPr>
        <p:spPr bwMode="auto">
          <a:xfrm>
            <a:off x="3430395" y="2029419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50" name="Gruppieren 249">
            <a:extLst>
              <a:ext uri="{FF2B5EF4-FFF2-40B4-BE49-F238E27FC236}">
                <a16:creationId xmlns:a16="http://schemas.microsoft.com/office/drawing/2014/main" id="{DAB03DD4-298C-4444-B8A7-FE43FC970F6F}"/>
              </a:ext>
            </a:extLst>
          </p:cNvPr>
          <p:cNvGrpSpPr/>
          <p:nvPr/>
        </p:nvGrpSpPr>
        <p:grpSpPr>
          <a:xfrm>
            <a:off x="3043873" y="4085718"/>
            <a:ext cx="799520" cy="799520"/>
            <a:chOff x="2967673" y="4155568"/>
            <a:chExt cx="799520" cy="799520"/>
          </a:xfrm>
        </p:grpSpPr>
        <p:sp>
          <p:nvSpPr>
            <p:cNvPr id="32" name="Grafik 60">
              <a:extLst>
                <a:ext uri="{FF2B5EF4-FFF2-40B4-BE49-F238E27FC236}">
                  <a16:creationId xmlns:a16="http://schemas.microsoft.com/office/drawing/2014/main" id="{58E8E325-452D-49AA-A4E8-572D2C84968C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8424" y="4336401"/>
              <a:ext cx="438019" cy="437854"/>
            </a:xfrm>
            <a:custGeom>
              <a:avLst/>
              <a:gdLst>
                <a:gd name="connsiteX0" fmla="*/ 826806 w 882787"/>
                <a:gd name="connsiteY0" fmla="*/ 600892 h 882456"/>
                <a:gd name="connsiteX1" fmla="*/ 773474 w 882787"/>
                <a:gd name="connsiteY1" fmla="*/ 638323 h 882456"/>
                <a:gd name="connsiteX2" fmla="*/ 738693 w 882787"/>
                <a:gd name="connsiteY2" fmla="*/ 638323 h 882456"/>
                <a:gd name="connsiteX3" fmla="*/ 788050 w 882787"/>
                <a:gd name="connsiteY3" fmla="*/ 459447 h 882456"/>
                <a:gd name="connsiteX4" fmla="*/ 772481 w 882787"/>
                <a:gd name="connsiteY4" fmla="*/ 356759 h 882456"/>
                <a:gd name="connsiteX5" fmla="*/ 845025 w 882787"/>
                <a:gd name="connsiteY5" fmla="*/ 356759 h 882456"/>
                <a:gd name="connsiteX6" fmla="*/ 845025 w 882787"/>
                <a:gd name="connsiteY6" fmla="*/ 319327 h 882456"/>
                <a:gd name="connsiteX7" fmla="*/ 758237 w 882787"/>
                <a:gd name="connsiteY7" fmla="*/ 319327 h 882456"/>
                <a:gd name="connsiteX8" fmla="*/ 619773 w 882787"/>
                <a:gd name="connsiteY8" fmla="*/ 162314 h 882456"/>
                <a:gd name="connsiteX9" fmla="*/ 619773 w 882787"/>
                <a:gd name="connsiteY9" fmla="*/ 109313 h 882456"/>
                <a:gd name="connsiteX10" fmla="*/ 657205 w 882787"/>
                <a:gd name="connsiteY10" fmla="*/ 56975 h 882456"/>
                <a:gd name="connsiteX11" fmla="*/ 600229 w 882787"/>
                <a:gd name="connsiteY11" fmla="*/ 0 h 882456"/>
                <a:gd name="connsiteX12" fmla="*/ 544248 w 882787"/>
                <a:gd name="connsiteY12" fmla="*/ 56975 h 882456"/>
                <a:gd name="connsiteX13" fmla="*/ 581679 w 882787"/>
                <a:gd name="connsiteY13" fmla="*/ 109645 h 882456"/>
                <a:gd name="connsiteX14" fmla="*/ 581679 w 882787"/>
                <a:gd name="connsiteY14" fmla="*/ 142770 h 882456"/>
                <a:gd name="connsiteX15" fmla="*/ 441228 w 882787"/>
                <a:gd name="connsiteY15" fmla="*/ 112957 h 882456"/>
                <a:gd name="connsiteX16" fmla="*/ 281233 w 882787"/>
                <a:gd name="connsiteY16" fmla="*/ 152045 h 882456"/>
                <a:gd name="connsiteX17" fmla="*/ 281233 w 882787"/>
                <a:gd name="connsiteY17" fmla="*/ 75194 h 882456"/>
                <a:gd name="connsiteX18" fmla="*/ 244133 w 882787"/>
                <a:gd name="connsiteY18" fmla="*/ 75194 h 882456"/>
                <a:gd name="connsiteX19" fmla="*/ 244133 w 882787"/>
                <a:gd name="connsiteY19" fmla="*/ 174570 h 882456"/>
                <a:gd name="connsiteX20" fmla="*/ 94738 w 882787"/>
                <a:gd name="connsiteY20" fmla="*/ 459447 h 882456"/>
                <a:gd name="connsiteX21" fmla="*/ 101032 w 882787"/>
                <a:gd name="connsiteY21" fmla="*/ 525698 h 882456"/>
                <a:gd name="connsiteX22" fmla="*/ 0 w 882787"/>
                <a:gd name="connsiteY22" fmla="*/ 525698 h 882456"/>
                <a:gd name="connsiteX23" fmla="*/ 0 w 882787"/>
                <a:gd name="connsiteY23" fmla="*/ 563129 h 882456"/>
                <a:gd name="connsiteX24" fmla="*/ 110307 w 882787"/>
                <a:gd name="connsiteY24" fmla="*/ 563129 h 882456"/>
                <a:gd name="connsiteX25" fmla="*/ 244133 w 882787"/>
                <a:gd name="connsiteY25" fmla="*/ 745318 h 882456"/>
                <a:gd name="connsiteX26" fmla="*/ 244133 w 882787"/>
                <a:gd name="connsiteY26" fmla="*/ 882456 h 882456"/>
                <a:gd name="connsiteX27" fmla="*/ 281565 w 882787"/>
                <a:gd name="connsiteY27" fmla="*/ 882456 h 882456"/>
                <a:gd name="connsiteX28" fmla="*/ 281565 w 882787"/>
                <a:gd name="connsiteY28" fmla="*/ 768174 h 882456"/>
                <a:gd name="connsiteX29" fmla="*/ 441560 w 882787"/>
                <a:gd name="connsiteY29" fmla="*/ 807593 h 882456"/>
                <a:gd name="connsiteX30" fmla="*/ 712524 w 882787"/>
                <a:gd name="connsiteY30" fmla="*/ 676086 h 882456"/>
                <a:gd name="connsiteX31" fmla="*/ 773143 w 882787"/>
                <a:gd name="connsiteY31" fmla="*/ 676086 h 882456"/>
                <a:gd name="connsiteX32" fmla="*/ 826806 w 882787"/>
                <a:gd name="connsiteY32" fmla="*/ 713518 h 882456"/>
                <a:gd name="connsiteX33" fmla="*/ 882788 w 882787"/>
                <a:gd name="connsiteY33" fmla="*/ 657536 h 882456"/>
                <a:gd name="connsiteX34" fmla="*/ 826806 w 882787"/>
                <a:gd name="connsiteY34" fmla="*/ 600892 h 882456"/>
                <a:gd name="connsiteX35" fmla="*/ 716830 w 882787"/>
                <a:gd name="connsiteY35" fmla="*/ 319327 h 882456"/>
                <a:gd name="connsiteX36" fmla="*/ 619773 w 882787"/>
                <a:gd name="connsiteY36" fmla="*/ 319327 h 882456"/>
                <a:gd name="connsiteX37" fmla="*/ 619773 w 882787"/>
                <a:gd name="connsiteY37" fmla="*/ 207033 h 882456"/>
                <a:gd name="connsiteX38" fmla="*/ 716830 w 882787"/>
                <a:gd name="connsiteY38" fmla="*/ 319327 h 882456"/>
                <a:gd name="connsiteX39" fmla="*/ 600892 w 882787"/>
                <a:gd name="connsiteY39" fmla="*/ 37432 h 882456"/>
                <a:gd name="connsiteX40" fmla="*/ 619773 w 882787"/>
                <a:gd name="connsiteY40" fmla="*/ 56313 h 882456"/>
                <a:gd name="connsiteX41" fmla="*/ 600892 w 882787"/>
                <a:gd name="connsiteY41" fmla="*/ 75194 h 882456"/>
                <a:gd name="connsiteX42" fmla="*/ 582011 w 882787"/>
                <a:gd name="connsiteY42" fmla="*/ 56313 h 882456"/>
                <a:gd name="connsiteX43" fmla="*/ 600892 w 882787"/>
                <a:gd name="connsiteY43" fmla="*/ 37432 h 882456"/>
                <a:gd name="connsiteX44" fmla="*/ 281565 w 882787"/>
                <a:gd name="connsiteY44" fmla="*/ 194776 h 882456"/>
                <a:gd name="connsiteX45" fmla="*/ 441560 w 882787"/>
                <a:gd name="connsiteY45" fmla="*/ 150057 h 882456"/>
                <a:gd name="connsiteX46" fmla="*/ 582011 w 882787"/>
                <a:gd name="connsiteY46" fmla="*/ 183845 h 882456"/>
                <a:gd name="connsiteX47" fmla="*/ 582011 w 882787"/>
                <a:gd name="connsiteY47" fmla="*/ 318996 h 882456"/>
                <a:gd name="connsiteX48" fmla="*/ 316015 w 882787"/>
                <a:gd name="connsiteY48" fmla="*/ 318996 h 882456"/>
                <a:gd name="connsiteX49" fmla="*/ 281565 w 882787"/>
                <a:gd name="connsiteY49" fmla="*/ 284877 h 882456"/>
                <a:gd name="connsiteX50" fmla="*/ 281565 w 882787"/>
                <a:gd name="connsiteY50" fmla="*/ 194776 h 882456"/>
                <a:gd name="connsiteX51" fmla="*/ 244133 w 882787"/>
                <a:gd name="connsiteY51" fmla="*/ 698280 h 882456"/>
                <a:gd name="connsiteX52" fmla="*/ 150057 w 882787"/>
                <a:gd name="connsiteY52" fmla="*/ 563460 h 882456"/>
                <a:gd name="connsiteX53" fmla="*/ 244133 w 882787"/>
                <a:gd name="connsiteY53" fmla="*/ 563460 h 882456"/>
                <a:gd name="connsiteX54" fmla="*/ 244133 w 882787"/>
                <a:gd name="connsiteY54" fmla="*/ 698280 h 882456"/>
                <a:gd name="connsiteX55" fmla="*/ 244133 w 882787"/>
                <a:gd name="connsiteY55" fmla="*/ 525698 h 882456"/>
                <a:gd name="connsiteX56" fmla="*/ 139457 w 882787"/>
                <a:gd name="connsiteY56" fmla="*/ 525698 h 882456"/>
                <a:gd name="connsiteX57" fmla="*/ 132501 w 882787"/>
                <a:gd name="connsiteY57" fmla="*/ 459447 h 882456"/>
                <a:gd name="connsiteX58" fmla="*/ 244464 w 882787"/>
                <a:gd name="connsiteY58" fmla="*/ 221608 h 882456"/>
                <a:gd name="connsiteX59" fmla="*/ 244464 w 882787"/>
                <a:gd name="connsiteY59" fmla="*/ 285208 h 882456"/>
                <a:gd name="connsiteX60" fmla="*/ 207033 w 882787"/>
                <a:gd name="connsiteY60" fmla="*/ 338540 h 882456"/>
                <a:gd name="connsiteX61" fmla="*/ 244464 w 882787"/>
                <a:gd name="connsiteY61" fmla="*/ 390878 h 882456"/>
                <a:gd name="connsiteX62" fmla="*/ 244464 w 882787"/>
                <a:gd name="connsiteY62" fmla="*/ 525698 h 882456"/>
                <a:gd name="connsiteX63" fmla="*/ 263014 w 882787"/>
                <a:gd name="connsiteY63" fmla="*/ 356759 h 882456"/>
                <a:gd name="connsiteX64" fmla="*/ 244133 w 882787"/>
                <a:gd name="connsiteY64" fmla="*/ 337877 h 882456"/>
                <a:gd name="connsiteX65" fmla="*/ 263014 w 882787"/>
                <a:gd name="connsiteY65" fmla="*/ 318996 h 882456"/>
                <a:gd name="connsiteX66" fmla="*/ 281896 w 882787"/>
                <a:gd name="connsiteY66" fmla="*/ 337877 h 882456"/>
                <a:gd name="connsiteX67" fmla="*/ 263014 w 882787"/>
                <a:gd name="connsiteY67" fmla="*/ 356759 h 882456"/>
                <a:gd name="connsiteX68" fmla="*/ 375972 w 882787"/>
                <a:gd name="connsiteY68" fmla="*/ 600892 h 882456"/>
                <a:gd name="connsiteX69" fmla="*/ 322640 w 882787"/>
                <a:gd name="connsiteY69" fmla="*/ 638323 h 882456"/>
                <a:gd name="connsiteX70" fmla="*/ 281565 w 882787"/>
                <a:gd name="connsiteY70" fmla="*/ 638323 h 882456"/>
                <a:gd name="connsiteX71" fmla="*/ 281565 w 882787"/>
                <a:gd name="connsiteY71" fmla="*/ 563129 h 882456"/>
                <a:gd name="connsiteX72" fmla="*/ 469385 w 882787"/>
                <a:gd name="connsiteY72" fmla="*/ 563129 h 882456"/>
                <a:gd name="connsiteX73" fmla="*/ 469385 w 882787"/>
                <a:gd name="connsiteY73" fmla="*/ 638323 h 882456"/>
                <a:gd name="connsiteX74" fmla="*/ 428309 w 882787"/>
                <a:gd name="connsiteY74" fmla="*/ 638323 h 882456"/>
                <a:gd name="connsiteX75" fmla="*/ 375972 w 882787"/>
                <a:gd name="connsiteY75" fmla="*/ 600892 h 882456"/>
                <a:gd name="connsiteX76" fmla="*/ 394522 w 882787"/>
                <a:gd name="connsiteY76" fmla="*/ 657205 h 882456"/>
                <a:gd name="connsiteX77" fmla="*/ 375640 w 882787"/>
                <a:gd name="connsiteY77" fmla="*/ 676086 h 882456"/>
                <a:gd name="connsiteX78" fmla="*/ 356759 w 882787"/>
                <a:gd name="connsiteY78" fmla="*/ 657205 h 882456"/>
                <a:gd name="connsiteX79" fmla="*/ 375640 w 882787"/>
                <a:gd name="connsiteY79" fmla="*/ 638323 h 882456"/>
                <a:gd name="connsiteX80" fmla="*/ 394522 w 882787"/>
                <a:gd name="connsiteY80" fmla="*/ 657205 h 882456"/>
                <a:gd name="connsiteX81" fmla="*/ 441891 w 882787"/>
                <a:gd name="connsiteY81" fmla="*/ 769831 h 882456"/>
                <a:gd name="connsiteX82" fmla="*/ 281896 w 882787"/>
                <a:gd name="connsiteY82" fmla="*/ 725112 h 882456"/>
                <a:gd name="connsiteX83" fmla="*/ 281896 w 882787"/>
                <a:gd name="connsiteY83" fmla="*/ 676086 h 882456"/>
                <a:gd name="connsiteX84" fmla="*/ 322640 w 882787"/>
                <a:gd name="connsiteY84" fmla="*/ 676086 h 882456"/>
                <a:gd name="connsiteX85" fmla="*/ 376303 w 882787"/>
                <a:gd name="connsiteY85" fmla="*/ 713518 h 882456"/>
                <a:gd name="connsiteX86" fmla="*/ 428972 w 882787"/>
                <a:gd name="connsiteY86" fmla="*/ 676086 h 882456"/>
                <a:gd name="connsiteX87" fmla="*/ 662836 w 882787"/>
                <a:gd name="connsiteY87" fmla="*/ 676086 h 882456"/>
                <a:gd name="connsiteX88" fmla="*/ 441891 w 882787"/>
                <a:gd name="connsiteY88" fmla="*/ 769831 h 882456"/>
                <a:gd name="connsiteX89" fmla="*/ 469385 w 882787"/>
                <a:gd name="connsiteY89" fmla="*/ 450835 h 882456"/>
                <a:gd name="connsiteX90" fmla="*/ 488266 w 882787"/>
                <a:gd name="connsiteY90" fmla="*/ 431953 h 882456"/>
                <a:gd name="connsiteX91" fmla="*/ 507148 w 882787"/>
                <a:gd name="connsiteY91" fmla="*/ 450835 h 882456"/>
                <a:gd name="connsiteX92" fmla="*/ 488266 w 882787"/>
                <a:gd name="connsiteY92" fmla="*/ 469716 h 882456"/>
                <a:gd name="connsiteX93" fmla="*/ 469385 w 882787"/>
                <a:gd name="connsiteY93" fmla="*/ 450835 h 882456"/>
                <a:gd name="connsiteX94" fmla="*/ 693974 w 882787"/>
                <a:gd name="connsiteY94" fmla="*/ 638655 h 882456"/>
                <a:gd name="connsiteX95" fmla="*/ 507148 w 882787"/>
                <a:gd name="connsiteY95" fmla="*/ 638655 h 882456"/>
                <a:gd name="connsiteX96" fmla="*/ 507148 w 882787"/>
                <a:gd name="connsiteY96" fmla="*/ 503835 h 882456"/>
                <a:gd name="connsiteX97" fmla="*/ 544579 w 882787"/>
                <a:gd name="connsiteY97" fmla="*/ 451497 h 882456"/>
                <a:gd name="connsiteX98" fmla="*/ 487604 w 882787"/>
                <a:gd name="connsiteY98" fmla="*/ 394522 h 882456"/>
                <a:gd name="connsiteX99" fmla="*/ 431622 w 882787"/>
                <a:gd name="connsiteY99" fmla="*/ 451497 h 882456"/>
                <a:gd name="connsiteX100" fmla="*/ 469053 w 882787"/>
                <a:gd name="connsiteY100" fmla="*/ 504166 h 882456"/>
                <a:gd name="connsiteX101" fmla="*/ 469053 w 882787"/>
                <a:gd name="connsiteY101" fmla="*/ 526029 h 882456"/>
                <a:gd name="connsiteX102" fmla="*/ 281565 w 882787"/>
                <a:gd name="connsiteY102" fmla="*/ 526029 h 882456"/>
                <a:gd name="connsiteX103" fmla="*/ 281565 w 882787"/>
                <a:gd name="connsiteY103" fmla="*/ 391540 h 882456"/>
                <a:gd name="connsiteX104" fmla="*/ 316015 w 882787"/>
                <a:gd name="connsiteY104" fmla="*/ 357090 h 882456"/>
                <a:gd name="connsiteX105" fmla="*/ 582011 w 882787"/>
                <a:gd name="connsiteY105" fmla="*/ 357090 h 882456"/>
                <a:gd name="connsiteX106" fmla="*/ 582011 w 882787"/>
                <a:gd name="connsiteY106" fmla="*/ 507479 h 882456"/>
                <a:gd name="connsiteX107" fmla="*/ 619442 w 882787"/>
                <a:gd name="connsiteY107" fmla="*/ 507479 h 882456"/>
                <a:gd name="connsiteX108" fmla="*/ 619442 w 882787"/>
                <a:gd name="connsiteY108" fmla="*/ 357090 h 882456"/>
                <a:gd name="connsiteX109" fmla="*/ 732730 w 882787"/>
                <a:gd name="connsiteY109" fmla="*/ 357090 h 882456"/>
                <a:gd name="connsiteX110" fmla="*/ 750287 w 882787"/>
                <a:gd name="connsiteY110" fmla="*/ 459778 h 882456"/>
                <a:gd name="connsiteX111" fmla="*/ 693974 w 882787"/>
                <a:gd name="connsiteY111" fmla="*/ 638655 h 882456"/>
                <a:gd name="connsiteX112" fmla="*/ 826144 w 882787"/>
                <a:gd name="connsiteY112" fmla="*/ 676086 h 882456"/>
                <a:gd name="connsiteX113" fmla="*/ 807262 w 882787"/>
                <a:gd name="connsiteY113" fmla="*/ 657205 h 882456"/>
                <a:gd name="connsiteX114" fmla="*/ 826144 w 882787"/>
                <a:gd name="connsiteY114" fmla="*/ 638323 h 882456"/>
                <a:gd name="connsiteX115" fmla="*/ 845025 w 882787"/>
                <a:gd name="connsiteY115" fmla="*/ 657205 h 882456"/>
                <a:gd name="connsiteX116" fmla="*/ 826144 w 882787"/>
                <a:gd name="connsiteY116" fmla="*/ 676086 h 88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882787" h="882456">
                  <a:moveTo>
                    <a:pt x="826806" y="600892"/>
                  </a:moveTo>
                  <a:cubicBezTo>
                    <a:pt x="802625" y="600892"/>
                    <a:pt x="781756" y="616792"/>
                    <a:pt x="773474" y="638323"/>
                  </a:cubicBezTo>
                  <a:lnTo>
                    <a:pt x="738693" y="638323"/>
                  </a:lnTo>
                  <a:cubicBezTo>
                    <a:pt x="770162" y="585986"/>
                    <a:pt x="788050" y="524704"/>
                    <a:pt x="788050" y="459447"/>
                  </a:cubicBezTo>
                  <a:cubicBezTo>
                    <a:pt x="788050" y="423672"/>
                    <a:pt x="782750" y="389222"/>
                    <a:pt x="772481" y="356759"/>
                  </a:cubicBezTo>
                  <a:lnTo>
                    <a:pt x="845025" y="356759"/>
                  </a:lnTo>
                  <a:lnTo>
                    <a:pt x="845025" y="319327"/>
                  </a:lnTo>
                  <a:lnTo>
                    <a:pt x="758237" y="319327"/>
                  </a:lnTo>
                  <a:cubicBezTo>
                    <a:pt x="729087" y="253739"/>
                    <a:pt x="680393" y="198751"/>
                    <a:pt x="619773" y="162314"/>
                  </a:cubicBezTo>
                  <a:lnTo>
                    <a:pt x="619773" y="109313"/>
                  </a:lnTo>
                  <a:cubicBezTo>
                    <a:pt x="641636" y="101695"/>
                    <a:pt x="657205" y="80826"/>
                    <a:pt x="657205" y="56975"/>
                  </a:cubicBezTo>
                  <a:cubicBezTo>
                    <a:pt x="657205" y="26169"/>
                    <a:pt x="631036" y="0"/>
                    <a:pt x="600229" y="0"/>
                  </a:cubicBezTo>
                  <a:cubicBezTo>
                    <a:pt x="569423" y="0"/>
                    <a:pt x="544248" y="25506"/>
                    <a:pt x="544248" y="56975"/>
                  </a:cubicBezTo>
                  <a:cubicBezTo>
                    <a:pt x="544248" y="81488"/>
                    <a:pt x="559817" y="102026"/>
                    <a:pt x="581679" y="109645"/>
                  </a:cubicBezTo>
                  <a:lnTo>
                    <a:pt x="581679" y="142770"/>
                  </a:lnTo>
                  <a:cubicBezTo>
                    <a:pt x="538617" y="123557"/>
                    <a:pt x="491247" y="112957"/>
                    <a:pt x="441228" y="112957"/>
                  </a:cubicBezTo>
                  <a:cubicBezTo>
                    <a:pt x="383590" y="112957"/>
                    <a:pt x="328934" y="127201"/>
                    <a:pt x="281233" y="152045"/>
                  </a:cubicBezTo>
                  <a:lnTo>
                    <a:pt x="281233" y="75194"/>
                  </a:lnTo>
                  <a:lnTo>
                    <a:pt x="244133" y="75194"/>
                  </a:lnTo>
                  <a:lnTo>
                    <a:pt x="244133" y="174570"/>
                  </a:lnTo>
                  <a:cubicBezTo>
                    <a:pt x="154032" y="237177"/>
                    <a:pt x="94738" y="341521"/>
                    <a:pt x="94738" y="459447"/>
                  </a:cubicBezTo>
                  <a:cubicBezTo>
                    <a:pt x="94738" y="481972"/>
                    <a:pt x="97057" y="504166"/>
                    <a:pt x="101032" y="525698"/>
                  </a:cubicBezTo>
                  <a:lnTo>
                    <a:pt x="0" y="525698"/>
                  </a:lnTo>
                  <a:lnTo>
                    <a:pt x="0" y="563129"/>
                  </a:lnTo>
                  <a:lnTo>
                    <a:pt x="110307" y="563129"/>
                  </a:lnTo>
                  <a:cubicBezTo>
                    <a:pt x="133495" y="637661"/>
                    <a:pt x="181195" y="701593"/>
                    <a:pt x="244133" y="745318"/>
                  </a:cubicBezTo>
                  <a:lnTo>
                    <a:pt x="244133" y="882456"/>
                  </a:lnTo>
                  <a:lnTo>
                    <a:pt x="281565" y="882456"/>
                  </a:lnTo>
                  <a:lnTo>
                    <a:pt x="281565" y="768174"/>
                  </a:lnTo>
                  <a:cubicBezTo>
                    <a:pt x="329596" y="793350"/>
                    <a:pt x="383922" y="807593"/>
                    <a:pt x="441560" y="807593"/>
                  </a:cubicBezTo>
                  <a:cubicBezTo>
                    <a:pt x="551204" y="807593"/>
                    <a:pt x="648924" y="756249"/>
                    <a:pt x="712524" y="676086"/>
                  </a:cubicBezTo>
                  <a:lnTo>
                    <a:pt x="773143" y="676086"/>
                  </a:lnTo>
                  <a:cubicBezTo>
                    <a:pt x="780762" y="697949"/>
                    <a:pt x="801962" y="713518"/>
                    <a:pt x="826806" y="713518"/>
                  </a:cubicBezTo>
                  <a:cubicBezTo>
                    <a:pt x="857613" y="713518"/>
                    <a:pt x="882788" y="688343"/>
                    <a:pt x="882788" y="657536"/>
                  </a:cubicBezTo>
                  <a:cubicBezTo>
                    <a:pt x="882788" y="626398"/>
                    <a:pt x="857613" y="600892"/>
                    <a:pt x="826806" y="600892"/>
                  </a:cubicBezTo>
                  <a:close/>
                  <a:moveTo>
                    <a:pt x="716830" y="319327"/>
                  </a:moveTo>
                  <a:lnTo>
                    <a:pt x="619773" y="319327"/>
                  </a:lnTo>
                  <a:lnTo>
                    <a:pt x="619773" y="207033"/>
                  </a:lnTo>
                  <a:cubicBezTo>
                    <a:pt x="660517" y="235852"/>
                    <a:pt x="693974" y="274277"/>
                    <a:pt x="716830" y="319327"/>
                  </a:cubicBezTo>
                  <a:close/>
                  <a:moveTo>
                    <a:pt x="600892" y="37432"/>
                  </a:moveTo>
                  <a:cubicBezTo>
                    <a:pt x="611161" y="37432"/>
                    <a:pt x="619773" y="45713"/>
                    <a:pt x="619773" y="56313"/>
                  </a:cubicBezTo>
                  <a:cubicBezTo>
                    <a:pt x="619773" y="66913"/>
                    <a:pt x="611492" y="75194"/>
                    <a:pt x="600892" y="75194"/>
                  </a:cubicBezTo>
                  <a:cubicBezTo>
                    <a:pt x="590623" y="75194"/>
                    <a:pt x="582011" y="66913"/>
                    <a:pt x="582011" y="56313"/>
                  </a:cubicBezTo>
                  <a:cubicBezTo>
                    <a:pt x="582011" y="45713"/>
                    <a:pt x="590623" y="37432"/>
                    <a:pt x="600892" y="37432"/>
                  </a:cubicBezTo>
                  <a:close/>
                  <a:moveTo>
                    <a:pt x="281565" y="194776"/>
                  </a:moveTo>
                  <a:cubicBezTo>
                    <a:pt x="328271" y="166289"/>
                    <a:pt x="383259" y="150057"/>
                    <a:pt x="441560" y="150057"/>
                  </a:cubicBezTo>
                  <a:cubicBezTo>
                    <a:pt x="491910" y="150057"/>
                    <a:pt x="539941" y="162314"/>
                    <a:pt x="582011" y="183845"/>
                  </a:cubicBezTo>
                  <a:lnTo>
                    <a:pt x="582011" y="318996"/>
                  </a:lnTo>
                  <a:lnTo>
                    <a:pt x="316015" y="318996"/>
                  </a:lnTo>
                  <a:cubicBezTo>
                    <a:pt x="310052" y="303096"/>
                    <a:pt x="297465" y="290508"/>
                    <a:pt x="281565" y="284877"/>
                  </a:cubicBezTo>
                  <a:lnTo>
                    <a:pt x="281565" y="194776"/>
                  </a:lnTo>
                  <a:close/>
                  <a:moveTo>
                    <a:pt x="244133" y="698280"/>
                  </a:moveTo>
                  <a:cubicBezTo>
                    <a:pt x="201733" y="662836"/>
                    <a:pt x="168939" y="616461"/>
                    <a:pt x="150057" y="563460"/>
                  </a:cubicBezTo>
                  <a:lnTo>
                    <a:pt x="244133" y="563460"/>
                  </a:lnTo>
                  <a:lnTo>
                    <a:pt x="244133" y="698280"/>
                  </a:lnTo>
                  <a:close/>
                  <a:moveTo>
                    <a:pt x="244133" y="525698"/>
                  </a:moveTo>
                  <a:lnTo>
                    <a:pt x="139457" y="525698"/>
                  </a:lnTo>
                  <a:cubicBezTo>
                    <a:pt x="134820" y="504497"/>
                    <a:pt x="132501" y="482304"/>
                    <a:pt x="132501" y="459447"/>
                  </a:cubicBezTo>
                  <a:cubicBezTo>
                    <a:pt x="132501" y="364046"/>
                    <a:pt x="176226" y="278252"/>
                    <a:pt x="244464" y="221608"/>
                  </a:cubicBezTo>
                  <a:lnTo>
                    <a:pt x="244464" y="285208"/>
                  </a:lnTo>
                  <a:cubicBezTo>
                    <a:pt x="222933" y="293158"/>
                    <a:pt x="207033" y="314359"/>
                    <a:pt x="207033" y="338540"/>
                  </a:cubicBezTo>
                  <a:cubicBezTo>
                    <a:pt x="207033" y="362721"/>
                    <a:pt x="222602" y="383259"/>
                    <a:pt x="244464" y="390878"/>
                  </a:cubicBezTo>
                  <a:lnTo>
                    <a:pt x="244464" y="525698"/>
                  </a:lnTo>
                  <a:close/>
                  <a:moveTo>
                    <a:pt x="263014" y="356759"/>
                  </a:moveTo>
                  <a:cubicBezTo>
                    <a:pt x="252746" y="356759"/>
                    <a:pt x="244133" y="348478"/>
                    <a:pt x="244133" y="337877"/>
                  </a:cubicBezTo>
                  <a:cubicBezTo>
                    <a:pt x="244133" y="327609"/>
                    <a:pt x="252414" y="318996"/>
                    <a:pt x="263014" y="318996"/>
                  </a:cubicBezTo>
                  <a:cubicBezTo>
                    <a:pt x="273283" y="318996"/>
                    <a:pt x="281896" y="327277"/>
                    <a:pt x="281896" y="337877"/>
                  </a:cubicBezTo>
                  <a:cubicBezTo>
                    <a:pt x="281565" y="348478"/>
                    <a:pt x="273283" y="356759"/>
                    <a:pt x="263014" y="356759"/>
                  </a:cubicBezTo>
                  <a:close/>
                  <a:moveTo>
                    <a:pt x="375972" y="600892"/>
                  </a:moveTo>
                  <a:cubicBezTo>
                    <a:pt x="351790" y="600892"/>
                    <a:pt x="330921" y="616792"/>
                    <a:pt x="322640" y="638323"/>
                  </a:cubicBezTo>
                  <a:lnTo>
                    <a:pt x="281565" y="638323"/>
                  </a:lnTo>
                  <a:lnTo>
                    <a:pt x="281565" y="563129"/>
                  </a:lnTo>
                  <a:lnTo>
                    <a:pt x="469385" y="563129"/>
                  </a:lnTo>
                  <a:lnTo>
                    <a:pt x="469385" y="638323"/>
                  </a:lnTo>
                  <a:lnTo>
                    <a:pt x="428309" y="638323"/>
                  </a:lnTo>
                  <a:cubicBezTo>
                    <a:pt x="420691" y="616792"/>
                    <a:pt x="400153" y="600892"/>
                    <a:pt x="375972" y="600892"/>
                  </a:cubicBezTo>
                  <a:close/>
                  <a:moveTo>
                    <a:pt x="394522" y="657205"/>
                  </a:moveTo>
                  <a:cubicBezTo>
                    <a:pt x="394522" y="667474"/>
                    <a:pt x="386240" y="676086"/>
                    <a:pt x="375640" y="676086"/>
                  </a:cubicBezTo>
                  <a:cubicBezTo>
                    <a:pt x="365040" y="676086"/>
                    <a:pt x="356759" y="667805"/>
                    <a:pt x="356759" y="657205"/>
                  </a:cubicBezTo>
                  <a:cubicBezTo>
                    <a:pt x="356759" y="646936"/>
                    <a:pt x="365040" y="638323"/>
                    <a:pt x="375640" y="638323"/>
                  </a:cubicBezTo>
                  <a:cubicBezTo>
                    <a:pt x="386240" y="638323"/>
                    <a:pt x="394522" y="646936"/>
                    <a:pt x="394522" y="657205"/>
                  </a:cubicBezTo>
                  <a:close/>
                  <a:moveTo>
                    <a:pt x="441891" y="769831"/>
                  </a:moveTo>
                  <a:cubicBezTo>
                    <a:pt x="383259" y="769831"/>
                    <a:pt x="328602" y="753599"/>
                    <a:pt x="281896" y="725112"/>
                  </a:cubicBezTo>
                  <a:lnTo>
                    <a:pt x="281896" y="676086"/>
                  </a:lnTo>
                  <a:lnTo>
                    <a:pt x="322640" y="676086"/>
                  </a:lnTo>
                  <a:cubicBezTo>
                    <a:pt x="330259" y="697949"/>
                    <a:pt x="351459" y="713518"/>
                    <a:pt x="376303" y="713518"/>
                  </a:cubicBezTo>
                  <a:cubicBezTo>
                    <a:pt x="400815" y="713518"/>
                    <a:pt x="421353" y="697949"/>
                    <a:pt x="428972" y="676086"/>
                  </a:cubicBezTo>
                  <a:lnTo>
                    <a:pt x="662836" y="676086"/>
                  </a:lnTo>
                  <a:cubicBezTo>
                    <a:pt x="606523" y="734055"/>
                    <a:pt x="528348" y="769831"/>
                    <a:pt x="441891" y="769831"/>
                  </a:cubicBezTo>
                  <a:close/>
                  <a:moveTo>
                    <a:pt x="469385" y="450835"/>
                  </a:moveTo>
                  <a:cubicBezTo>
                    <a:pt x="469385" y="440566"/>
                    <a:pt x="477666" y="431953"/>
                    <a:pt x="488266" y="431953"/>
                  </a:cubicBezTo>
                  <a:cubicBezTo>
                    <a:pt x="498866" y="431953"/>
                    <a:pt x="507148" y="440234"/>
                    <a:pt x="507148" y="450835"/>
                  </a:cubicBezTo>
                  <a:cubicBezTo>
                    <a:pt x="507148" y="461435"/>
                    <a:pt x="498866" y="469716"/>
                    <a:pt x="488266" y="469716"/>
                  </a:cubicBezTo>
                  <a:cubicBezTo>
                    <a:pt x="477666" y="469716"/>
                    <a:pt x="469385" y="461103"/>
                    <a:pt x="469385" y="450835"/>
                  </a:cubicBezTo>
                  <a:close/>
                  <a:moveTo>
                    <a:pt x="693974" y="638655"/>
                  </a:moveTo>
                  <a:lnTo>
                    <a:pt x="507148" y="638655"/>
                  </a:lnTo>
                  <a:lnTo>
                    <a:pt x="507148" y="503835"/>
                  </a:lnTo>
                  <a:cubicBezTo>
                    <a:pt x="529010" y="496216"/>
                    <a:pt x="544579" y="475347"/>
                    <a:pt x="544579" y="451497"/>
                  </a:cubicBezTo>
                  <a:cubicBezTo>
                    <a:pt x="544579" y="420691"/>
                    <a:pt x="518410" y="394522"/>
                    <a:pt x="487604" y="394522"/>
                  </a:cubicBezTo>
                  <a:cubicBezTo>
                    <a:pt x="456797" y="394522"/>
                    <a:pt x="431622" y="420028"/>
                    <a:pt x="431622" y="451497"/>
                  </a:cubicBezTo>
                  <a:cubicBezTo>
                    <a:pt x="431622" y="476010"/>
                    <a:pt x="447191" y="496547"/>
                    <a:pt x="469053" y="504166"/>
                  </a:cubicBezTo>
                  <a:lnTo>
                    <a:pt x="469053" y="526029"/>
                  </a:lnTo>
                  <a:lnTo>
                    <a:pt x="281565" y="526029"/>
                  </a:lnTo>
                  <a:lnTo>
                    <a:pt x="281565" y="391540"/>
                  </a:lnTo>
                  <a:cubicBezTo>
                    <a:pt x="297796" y="385909"/>
                    <a:pt x="310384" y="373321"/>
                    <a:pt x="316015" y="357090"/>
                  </a:cubicBezTo>
                  <a:lnTo>
                    <a:pt x="582011" y="357090"/>
                  </a:lnTo>
                  <a:lnTo>
                    <a:pt x="582011" y="507479"/>
                  </a:lnTo>
                  <a:lnTo>
                    <a:pt x="619442" y="507479"/>
                  </a:lnTo>
                  <a:lnTo>
                    <a:pt x="619442" y="357090"/>
                  </a:lnTo>
                  <a:lnTo>
                    <a:pt x="732730" y="357090"/>
                  </a:lnTo>
                  <a:cubicBezTo>
                    <a:pt x="743993" y="389222"/>
                    <a:pt x="750287" y="424003"/>
                    <a:pt x="750287" y="459778"/>
                  </a:cubicBezTo>
                  <a:cubicBezTo>
                    <a:pt x="750287" y="526029"/>
                    <a:pt x="729418" y="587973"/>
                    <a:pt x="693974" y="638655"/>
                  </a:cubicBezTo>
                  <a:close/>
                  <a:moveTo>
                    <a:pt x="826144" y="676086"/>
                  </a:moveTo>
                  <a:cubicBezTo>
                    <a:pt x="815875" y="676086"/>
                    <a:pt x="807262" y="667805"/>
                    <a:pt x="807262" y="657205"/>
                  </a:cubicBezTo>
                  <a:cubicBezTo>
                    <a:pt x="807262" y="646936"/>
                    <a:pt x="815544" y="638323"/>
                    <a:pt x="826144" y="638323"/>
                  </a:cubicBezTo>
                  <a:cubicBezTo>
                    <a:pt x="836744" y="638323"/>
                    <a:pt x="845025" y="646605"/>
                    <a:pt x="845025" y="657205"/>
                  </a:cubicBezTo>
                  <a:cubicBezTo>
                    <a:pt x="845025" y="667805"/>
                    <a:pt x="836744" y="676086"/>
                    <a:pt x="826144" y="676086"/>
                  </a:cubicBezTo>
                  <a:close/>
                </a:path>
              </a:pathLst>
            </a:custGeom>
            <a:solidFill>
              <a:schemeClr val="accent4"/>
            </a:solidFill>
            <a:ln w="328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2A0486D0-6752-4A65-9977-F32ACCCF65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253" y="4195148"/>
              <a:ext cx="720360" cy="720360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D5190890-DC0A-4548-B4AA-6A406AE7E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673" y="4155568"/>
              <a:ext cx="799520" cy="799520"/>
            </a:xfrm>
            <a:prstGeom prst="ellipse">
              <a:avLst/>
            </a:prstGeom>
            <a:noFill/>
            <a:ln w="12700" cap="rnd">
              <a:solidFill>
                <a:srgbClr val="CCCCD4"/>
              </a:solidFill>
              <a:prstDash val="sysDot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6" name="Textfeld 35">
            <a:extLst>
              <a:ext uri="{FF2B5EF4-FFF2-40B4-BE49-F238E27FC236}">
                <a16:creationId xmlns:a16="http://schemas.microsoft.com/office/drawing/2014/main" id="{62987A01-242B-40CA-9CB5-61194EFF7138}"/>
              </a:ext>
            </a:extLst>
          </p:cNvPr>
          <p:cNvSpPr txBox="1">
            <a:spLocks/>
          </p:cNvSpPr>
          <p:nvPr/>
        </p:nvSpPr>
        <p:spPr bwMode="gray">
          <a:xfrm>
            <a:off x="2470683" y="4994957"/>
            <a:ext cx="1945900" cy="6463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spc="-10" dirty="0">
                <a:solidFill>
                  <a:srgbClr val="000000"/>
                </a:solidFill>
                <a:latin typeface="Arial"/>
              </a:rPr>
              <a:t>Интегрированная система</a:t>
            </a:r>
            <a:br>
              <a:rPr lang="ru-RU" sz="1400" spc="-10" dirty="0">
                <a:solidFill>
                  <a:srgbClr val="000000"/>
                </a:solidFill>
                <a:latin typeface="Arial"/>
              </a:rPr>
            </a:br>
            <a:r>
              <a:rPr lang="ru-RU" sz="1400" spc="-10" dirty="0">
                <a:solidFill>
                  <a:srgbClr val="000000"/>
                </a:solidFill>
                <a:latin typeface="Arial"/>
              </a:rPr>
              <a:t>менеджмента</a:t>
            </a:r>
            <a:endParaRPr kumimoji="0" lang="en-GB" sz="1400" b="0" i="0" u="none" strike="noStrike" kern="1200" cap="none" spc="-2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C3C6FFC-F1F2-4100-8E04-A99F371D56AA}"/>
              </a:ext>
            </a:extLst>
          </p:cNvPr>
          <p:cNvGrpSpPr>
            <a:grpSpLocks/>
          </p:cNvGrpSpPr>
          <p:nvPr/>
        </p:nvGrpSpPr>
        <p:grpSpPr bwMode="gray">
          <a:xfrm>
            <a:off x="1365676" y="4649430"/>
            <a:ext cx="327736" cy="400565"/>
            <a:chOff x="6961575" y="3438477"/>
            <a:chExt cx="794246" cy="970745"/>
          </a:xfrm>
          <a:solidFill>
            <a:schemeClr val="accent4"/>
          </a:solidFill>
        </p:grpSpPr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A07393A-1883-4108-90B1-0FDCBFBB130F}"/>
                </a:ext>
              </a:extLst>
            </p:cNvPr>
            <p:cNvSpPr/>
            <p:nvPr/>
          </p:nvSpPr>
          <p:spPr bwMode="gray">
            <a:xfrm>
              <a:off x="6961575" y="3438477"/>
              <a:ext cx="794246" cy="970745"/>
            </a:xfrm>
            <a:custGeom>
              <a:avLst/>
              <a:gdLst>
                <a:gd name="connsiteX0" fmla="*/ 397123 w 794246"/>
                <a:gd name="connsiteY0" fmla="*/ 0 h 970745"/>
                <a:gd name="connsiteX1" fmla="*/ 0 w 794246"/>
                <a:gd name="connsiteY1" fmla="*/ 180652 h 970745"/>
                <a:gd name="connsiteX2" fmla="*/ 0 w 794246"/>
                <a:gd name="connsiteY2" fmla="*/ 441248 h 970745"/>
                <a:gd name="connsiteX3" fmla="*/ 397123 w 794246"/>
                <a:gd name="connsiteY3" fmla="*/ 970745 h 970745"/>
                <a:gd name="connsiteX4" fmla="*/ 794246 w 794246"/>
                <a:gd name="connsiteY4" fmla="*/ 441248 h 970745"/>
                <a:gd name="connsiteX5" fmla="*/ 794246 w 794246"/>
                <a:gd name="connsiteY5" fmla="*/ 180652 h 970745"/>
                <a:gd name="connsiteX6" fmla="*/ 397123 w 794246"/>
                <a:gd name="connsiteY6" fmla="*/ 0 h 970745"/>
                <a:gd name="connsiteX7" fmla="*/ 722089 w 794246"/>
                <a:gd name="connsiteY7" fmla="*/ 441248 h 970745"/>
                <a:gd name="connsiteX8" fmla="*/ 623457 w 794246"/>
                <a:gd name="connsiteY8" fmla="*/ 733510 h 970745"/>
                <a:gd name="connsiteX9" fmla="*/ 397642 w 794246"/>
                <a:gd name="connsiteY9" fmla="*/ 895473 h 970745"/>
                <a:gd name="connsiteX10" fmla="*/ 171827 w 794246"/>
                <a:gd name="connsiteY10" fmla="*/ 733510 h 970745"/>
                <a:gd name="connsiteX11" fmla="*/ 72676 w 794246"/>
                <a:gd name="connsiteY11" fmla="*/ 441248 h 970745"/>
                <a:gd name="connsiteX12" fmla="*/ 72676 w 794246"/>
                <a:gd name="connsiteY12" fmla="*/ 227372 h 970745"/>
                <a:gd name="connsiteX13" fmla="*/ 397123 w 794246"/>
                <a:gd name="connsiteY13" fmla="*/ 79944 h 970745"/>
                <a:gd name="connsiteX14" fmla="*/ 721570 w 794246"/>
                <a:gd name="connsiteY14" fmla="*/ 227372 h 970745"/>
                <a:gd name="connsiteX15" fmla="*/ 721570 w 794246"/>
                <a:gd name="connsiteY15" fmla="*/ 441248 h 97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94246" h="970745">
                  <a:moveTo>
                    <a:pt x="397123" y="0"/>
                  </a:moveTo>
                  <a:lnTo>
                    <a:pt x="0" y="180652"/>
                  </a:lnTo>
                  <a:lnTo>
                    <a:pt x="0" y="441248"/>
                  </a:lnTo>
                  <a:cubicBezTo>
                    <a:pt x="0" y="686270"/>
                    <a:pt x="169232" y="915200"/>
                    <a:pt x="397123" y="970745"/>
                  </a:cubicBezTo>
                  <a:cubicBezTo>
                    <a:pt x="625015" y="914681"/>
                    <a:pt x="794246" y="686270"/>
                    <a:pt x="794246" y="441248"/>
                  </a:cubicBezTo>
                  <a:lnTo>
                    <a:pt x="794246" y="180652"/>
                  </a:lnTo>
                  <a:lnTo>
                    <a:pt x="397123" y="0"/>
                  </a:lnTo>
                  <a:close/>
                  <a:moveTo>
                    <a:pt x="722089" y="441248"/>
                  </a:moveTo>
                  <a:cubicBezTo>
                    <a:pt x="722089" y="544552"/>
                    <a:pt x="686789" y="648375"/>
                    <a:pt x="623457" y="733510"/>
                  </a:cubicBezTo>
                  <a:cubicBezTo>
                    <a:pt x="564278" y="812934"/>
                    <a:pt x="484334" y="870037"/>
                    <a:pt x="397642" y="895473"/>
                  </a:cubicBezTo>
                  <a:cubicBezTo>
                    <a:pt x="310950" y="870037"/>
                    <a:pt x="231006" y="812934"/>
                    <a:pt x="171827" y="733510"/>
                  </a:cubicBezTo>
                  <a:cubicBezTo>
                    <a:pt x="107976" y="648894"/>
                    <a:pt x="72676" y="545071"/>
                    <a:pt x="72676" y="441248"/>
                  </a:cubicBezTo>
                  <a:lnTo>
                    <a:pt x="72676" y="227372"/>
                  </a:lnTo>
                  <a:lnTo>
                    <a:pt x="397123" y="79944"/>
                  </a:lnTo>
                  <a:lnTo>
                    <a:pt x="721570" y="227372"/>
                  </a:lnTo>
                  <a:lnTo>
                    <a:pt x="721570" y="441248"/>
                  </a:lnTo>
                  <a:close/>
                </a:path>
              </a:pathLst>
            </a:custGeom>
            <a:grpFill/>
            <a:ln w="51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F9F992E2-B257-4890-AFDF-099D7B86FFDD}"/>
                </a:ext>
              </a:extLst>
            </p:cNvPr>
            <p:cNvSpPr/>
            <p:nvPr/>
          </p:nvSpPr>
          <p:spPr bwMode="gray">
            <a:xfrm>
              <a:off x="7252280" y="3732295"/>
              <a:ext cx="213874" cy="131855"/>
            </a:xfrm>
            <a:custGeom>
              <a:avLst/>
              <a:gdLst>
                <a:gd name="connsiteX0" fmla="*/ 0 w 213875"/>
                <a:gd name="connsiteY0" fmla="*/ 74753 h 131855"/>
                <a:gd name="connsiteX1" fmla="*/ 0 w 213875"/>
                <a:gd name="connsiteY1" fmla="*/ 131855 h 131855"/>
                <a:gd name="connsiteX2" fmla="*/ 50873 w 213875"/>
                <a:gd name="connsiteY2" fmla="*/ 131855 h 131855"/>
                <a:gd name="connsiteX3" fmla="*/ 50873 w 213875"/>
                <a:gd name="connsiteY3" fmla="*/ 74753 h 131855"/>
                <a:gd name="connsiteX4" fmla="*/ 75272 w 213875"/>
                <a:gd name="connsiteY4" fmla="*/ 50873 h 131855"/>
                <a:gd name="connsiteX5" fmla="*/ 138604 w 213875"/>
                <a:gd name="connsiteY5" fmla="*/ 50873 h 131855"/>
                <a:gd name="connsiteX6" fmla="*/ 163002 w 213875"/>
                <a:gd name="connsiteY6" fmla="*/ 74753 h 131855"/>
                <a:gd name="connsiteX7" fmla="*/ 163002 w 213875"/>
                <a:gd name="connsiteY7" fmla="*/ 131855 h 131855"/>
                <a:gd name="connsiteX8" fmla="*/ 213875 w 213875"/>
                <a:gd name="connsiteY8" fmla="*/ 131855 h 131855"/>
                <a:gd name="connsiteX9" fmla="*/ 213875 w 213875"/>
                <a:gd name="connsiteY9" fmla="*/ 74753 h 131855"/>
                <a:gd name="connsiteX10" fmla="*/ 139123 w 213875"/>
                <a:gd name="connsiteY10" fmla="*/ 0 h 131855"/>
                <a:gd name="connsiteX11" fmla="*/ 74753 w 213875"/>
                <a:gd name="connsiteY11" fmla="*/ 0 h 131855"/>
                <a:gd name="connsiteX12" fmla="*/ 0 w 213875"/>
                <a:gd name="connsiteY12" fmla="*/ 74753 h 13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3875" h="131855">
                  <a:moveTo>
                    <a:pt x="0" y="74753"/>
                  </a:moveTo>
                  <a:lnTo>
                    <a:pt x="0" y="131855"/>
                  </a:lnTo>
                  <a:lnTo>
                    <a:pt x="50873" y="131855"/>
                  </a:lnTo>
                  <a:lnTo>
                    <a:pt x="50873" y="74753"/>
                  </a:lnTo>
                  <a:cubicBezTo>
                    <a:pt x="50873" y="61775"/>
                    <a:pt x="61775" y="50873"/>
                    <a:pt x="75272" y="50873"/>
                  </a:cubicBezTo>
                  <a:lnTo>
                    <a:pt x="138604" y="50873"/>
                  </a:lnTo>
                  <a:cubicBezTo>
                    <a:pt x="151582" y="50873"/>
                    <a:pt x="163002" y="61775"/>
                    <a:pt x="163002" y="74753"/>
                  </a:cubicBezTo>
                  <a:lnTo>
                    <a:pt x="163002" y="131855"/>
                  </a:lnTo>
                  <a:lnTo>
                    <a:pt x="213875" y="131855"/>
                  </a:lnTo>
                  <a:lnTo>
                    <a:pt x="213875" y="74753"/>
                  </a:lnTo>
                  <a:cubicBezTo>
                    <a:pt x="213875" y="33742"/>
                    <a:pt x="180133" y="0"/>
                    <a:pt x="139123" y="0"/>
                  </a:cubicBezTo>
                  <a:lnTo>
                    <a:pt x="74753" y="0"/>
                  </a:lnTo>
                  <a:cubicBezTo>
                    <a:pt x="33742" y="519"/>
                    <a:pt x="0" y="34262"/>
                    <a:pt x="0" y="74753"/>
                  </a:cubicBezTo>
                  <a:close/>
                </a:path>
              </a:pathLst>
            </a:custGeom>
            <a:grpFill/>
            <a:ln w="51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310E22AE-1BDF-4EE8-A112-8B6327982844}"/>
                </a:ext>
              </a:extLst>
            </p:cNvPr>
            <p:cNvSpPr/>
            <p:nvPr/>
          </p:nvSpPr>
          <p:spPr bwMode="gray">
            <a:xfrm>
              <a:off x="7211789" y="3894780"/>
              <a:ext cx="294338" cy="191033"/>
            </a:xfrm>
            <a:custGeom>
              <a:avLst/>
              <a:gdLst>
                <a:gd name="connsiteX0" fmla="*/ 0 w 294338"/>
                <a:gd name="connsiteY0" fmla="*/ 191034 h 191034"/>
                <a:gd name="connsiteX1" fmla="*/ 294338 w 294338"/>
                <a:gd name="connsiteY1" fmla="*/ 191034 h 191034"/>
                <a:gd name="connsiteX2" fmla="*/ 294338 w 294338"/>
                <a:gd name="connsiteY2" fmla="*/ 0 h 191034"/>
                <a:gd name="connsiteX3" fmla="*/ 0 w 294338"/>
                <a:gd name="connsiteY3" fmla="*/ 0 h 191034"/>
                <a:gd name="connsiteX4" fmla="*/ 0 w 294338"/>
                <a:gd name="connsiteY4" fmla="*/ 191034 h 191034"/>
                <a:gd name="connsiteX5" fmla="*/ 117839 w 294338"/>
                <a:gd name="connsiteY5" fmla="*/ 73195 h 191034"/>
                <a:gd name="connsiteX6" fmla="*/ 147429 w 294338"/>
                <a:gd name="connsiteY6" fmla="*/ 43606 h 191034"/>
                <a:gd name="connsiteX7" fmla="*/ 177018 w 294338"/>
                <a:gd name="connsiteY7" fmla="*/ 73195 h 191034"/>
                <a:gd name="connsiteX8" fmla="*/ 177018 w 294338"/>
                <a:gd name="connsiteY8" fmla="*/ 117320 h 191034"/>
                <a:gd name="connsiteX9" fmla="*/ 147429 w 294338"/>
                <a:gd name="connsiteY9" fmla="*/ 146910 h 191034"/>
                <a:gd name="connsiteX10" fmla="*/ 117839 w 294338"/>
                <a:gd name="connsiteY10" fmla="*/ 117320 h 191034"/>
                <a:gd name="connsiteX11" fmla="*/ 117839 w 294338"/>
                <a:gd name="connsiteY11" fmla="*/ 73195 h 191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4338" h="191034">
                  <a:moveTo>
                    <a:pt x="0" y="191034"/>
                  </a:moveTo>
                  <a:lnTo>
                    <a:pt x="294338" y="191034"/>
                  </a:lnTo>
                  <a:lnTo>
                    <a:pt x="294338" y="0"/>
                  </a:lnTo>
                  <a:lnTo>
                    <a:pt x="0" y="0"/>
                  </a:lnTo>
                  <a:lnTo>
                    <a:pt x="0" y="191034"/>
                  </a:lnTo>
                  <a:close/>
                  <a:moveTo>
                    <a:pt x="117839" y="73195"/>
                  </a:moveTo>
                  <a:cubicBezTo>
                    <a:pt x="117839" y="57103"/>
                    <a:pt x="130817" y="43606"/>
                    <a:pt x="147429" y="43606"/>
                  </a:cubicBezTo>
                  <a:cubicBezTo>
                    <a:pt x="164040" y="43606"/>
                    <a:pt x="177018" y="56584"/>
                    <a:pt x="177018" y="73195"/>
                  </a:cubicBezTo>
                  <a:lnTo>
                    <a:pt x="177018" y="117320"/>
                  </a:lnTo>
                  <a:cubicBezTo>
                    <a:pt x="177018" y="133413"/>
                    <a:pt x="164040" y="146910"/>
                    <a:pt x="147429" y="146910"/>
                  </a:cubicBezTo>
                  <a:cubicBezTo>
                    <a:pt x="130817" y="146910"/>
                    <a:pt x="117839" y="133932"/>
                    <a:pt x="117839" y="117320"/>
                  </a:cubicBezTo>
                  <a:lnTo>
                    <a:pt x="117839" y="73195"/>
                  </a:lnTo>
                  <a:close/>
                </a:path>
              </a:pathLst>
            </a:custGeom>
            <a:grpFill/>
            <a:ln w="516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0" name="Ellipse 39">
            <a:extLst>
              <a:ext uri="{FF2B5EF4-FFF2-40B4-BE49-F238E27FC236}">
                <a16:creationId xmlns:a16="http://schemas.microsoft.com/office/drawing/2014/main" id="{339DA234-BFFB-4DA1-B24B-3CC46B591C68}"/>
              </a:ext>
            </a:extLst>
          </p:cNvPr>
          <p:cNvSpPr>
            <a:spLocks/>
          </p:cNvSpPr>
          <p:nvPr/>
        </p:nvSpPr>
        <p:spPr bwMode="auto">
          <a:xfrm>
            <a:off x="1169364" y="4489533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EBD4F0DF-1FE1-4988-9983-B88F02A17616}"/>
              </a:ext>
            </a:extLst>
          </p:cNvPr>
          <p:cNvSpPr>
            <a:spLocks/>
          </p:cNvSpPr>
          <p:nvPr/>
        </p:nvSpPr>
        <p:spPr bwMode="auto">
          <a:xfrm>
            <a:off x="1129784" y="4449953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989CF67-8A91-46C3-9615-8CC6E5F39E95}"/>
              </a:ext>
            </a:extLst>
          </p:cNvPr>
          <p:cNvSpPr txBox="1">
            <a:spLocks/>
          </p:cNvSpPr>
          <p:nvPr/>
        </p:nvSpPr>
        <p:spPr bwMode="gray">
          <a:xfrm>
            <a:off x="783724" y="5318263"/>
            <a:ext cx="1630181" cy="21544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бербезопасность</a:t>
            </a:r>
            <a:endParaRPr kumimoji="0" lang="en-GB" sz="14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64B3E1D0-73C3-46F4-8865-3D2EC163DA72}"/>
              </a:ext>
            </a:extLst>
          </p:cNvPr>
          <p:cNvGrpSpPr>
            <a:grpSpLocks/>
          </p:cNvGrpSpPr>
          <p:nvPr/>
        </p:nvGrpSpPr>
        <p:grpSpPr bwMode="gray">
          <a:xfrm>
            <a:off x="10425991" y="2079825"/>
            <a:ext cx="401077" cy="400919"/>
            <a:chOff x="8958026" y="4227615"/>
            <a:chExt cx="828968" cy="828642"/>
          </a:xfrm>
          <a:solidFill>
            <a:schemeClr val="accent4"/>
          </a:solidFill>
        </p:grpSpPr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9CDED71E-7B5A-439E-B8A4-8A35F1AC2478}"/>
                </a:ext>
              </a:extLst>
            </p:cNvPr>
            <p:cNvSpPr/>
            <p:nvPr/>
          </p:nvSpPr>
          <p:spPr bwMode="gray">
            <a:xfrm>
              <a:off x="9148377" y="4227615"/>
              <a:ext cx="447941" cy="95824"/>
            </a:xfrm>
            <a:custGeom>
              <a:avLst/>
              <a:gdLst>
                <a:gd name="connsiteX0" fmla="*/ 32325 w 675390"/>
                <a:gd name="connsiteY0" fmla="*/ 144482 h 144481"/>
                <a:gd name="connsiteX1" fmla="*/ 337940 w 675390"/>
                <a:gd name="connsiteY1" fmla="*/ 55834 h 144481"/>
                <a:gd name="connsiteX2" fmla="*/ 643556 w 675390"/>
                <a:gd name="connsiteY2" fmla="*/ 144482 h 144481"/>
                <a:gd name="connsiteX3" fmla="*/ 675391 w 675390"/>
                <a:gd name="connsiteY3" fmla="*/ 98933 h 144481"/>
                <a:gd name="connsiteX4" fmla="*/ 337940 w 675390"/>
                <a:gd name="connsiteY4" fmla="*/ 0 h 144481"/>
                <a:gd name="connsiteX5" fmla="*/ 0 w 675390"/>
                <a:gd name="connsiteY5" fmla="*/ 98933 h 144481"/>
                <a:gd name="connsiteX6" fmla="*/ 32325 w 675390"/>
                <a:gd name="connsiteY6" fmla="*/ 144482 h 14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5390" h="144481">
                  <a:moveTo>
                    <a:pt x="32325" y="144482"/>
                  </a:moveTo>
                  <a:cubicBezTo>
                    <a:pt x="120483" y="88158"/>
                    <a:pt x="225294" y="55834"/>
                    <a:pt x="337940" y="55834"/>
                  </a:cubicBezTo>
                  <a:cubicBezTo>
                    <a:pt x="450587" y="55834"/>
                    <a:pt x="555398" y="88648"/>
                    <a:pt x="643556" y="144482"/>
                  </a:cubicBezTo>
                  <a:cubicBezTo>
                    <a:pt x="651392" y="127340"/>
                    <a:pt x="662167" y="112157"/>
                    <a:pt x="675391" y="98933"/>
                  </a:cubicBezTo>
                  <a:cubicBezTo>
                    <a:pt x="577927" y="36243"/>
                    <a:pt x="462342" y="0"/>
                    <a:pt x="337940" y="0"/>
                  </a:cubicBezTo>
                  <a:cubicBezTo>
                    <a:pt x="213539" y="0"/>
                    <a:pt x="97464" y="36243"/>
                    <a:pt x="0" y="98933"/>
                  </a:cubicBezTo>
                  <a:cubicBezTo>
                    <a:pt x="13224" y="112157"/>
                    <a:pt x="24488" y="127340"/>
                    <a:pt x="32325" y="144482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A720F74C-D74A-41DA-B55B-05A6D762546F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8026" y="4441353"/>
              <a:ext cx="83481" cy="401815"/>
            </a:xfrm>
            <a:custGeom>
              <a:avLst/>
              <a:gdLst>
                <a:gd name="connsiteX0" fmla="*/ 55344 w 125870"/>
                <a:gd name="connsiteY0" fmla="*/ 302677 h 605843"/>
                <a:gd name="connsiteX1" fmla="*/ 125381 w 125870"/>
                <a:gd name="connsiteY1" fmla="*/ 28896 h 605843"/>
                <a:gd name="connsiteX2" fmla="*/ 77873 w 125870"/>
                <a:gd name="connsiteY2" fmla="*/ 0 h 605843"/>
                <a:gd name="connsiteX3" fmla="*/ 0 w 125870"/>
                <a:gd name="connsiteY3" fmla="*/ 302677 h 605843"/>
                <a:gd name="connsiteX4" fmla="*/ 78363 w 125870"/>
                <a:gd name="connsiteY4" fmla="*/ 605844 h 605843"/>
                <a:gd name="connsiteX5" fmla="*/ 125871 w 125870"/>
                <a:gd name="connsiteY5" fmla="*/ 576947 h 605843"/>
                <a:gd name="connsiteX6" fmla="*/ 55344 w 125870"/>
                <a:gd name="connsiteY6" fmla="*/ 302677 h 60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870" h="605843">
                  <a:moveTo>
                    <a:pt x="55344" y="302677"/>
                  </a:moveTo>
                  <a:cubicBezTo>
                    <a:pt x="55344" y="203254"/>
                    <a:pt x="80812" y="110198"/>
                    <a:pt x="125381" y="28896"/>
                  </a:cubicBezTo>
                  <a:cubicBezTo>
                    <a:pt x="107749" y="22040"/>
                    <a:pt x="91587" y="12244"/>
                    <a:pt x="77873" y="0"/>
                  </a:cubicBezTo>
                  <a:cubicBezTo>
                    <a:pt x="28407" y="89138"/>
                    <a:pt x="0" y="192479"/>
                    <a:pt x="0" y="302677"/>
                  </a:cubicBezTo>
                  <a:cubicBezTo>
                    <a:pt x="0" y="412875"/>
                    <a:pt x="28407" y="515726"/>
                    <a:pt x="78363" y="605844"/>
                  </a:cubicBezTo>
                  <a:cubicBezTo>
                    <a:pt x="92077" y="593600"/>
                    <a:pt x="108239" y="583314"/>
                    <a:pt x="125871" y="576947"/>
                  </a:cubicBezTo>
                  <a:cubicBezTo>
                    <a:pt x="80812" y="495156"/>
                    <a:pt x="55344" y="401610"/>
                    <a:pt x="55344" y="302677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55AFA97C-EE55-41AF-84E7-7EFFBEAA3A0D}"/>
                </a:ext>
              </a:extLst>
            </p:cNvPr>
            <p:cNvSpPr/>
            <p:nvPr/>
          </p:nvSpPr>
          <p:spPr bwMode="gray">
            <a:xfrm>
              <a:off x="9703513" y="4440704"/>
              <a:ext cx="83481" cy="402140"/>
            </a:xfrm>
            <a:custGeom>
              <a:avLst/>
              <a:gdLst>
                <a:gd name="connsiteX0" fmla="*/ 70037 w 125870"/>
                <a:gd name="connsiteY0" fmla="*/ 303657 h 606333"/>
                <a:gd name="connsiteX1" fmla="*/ 0 w 125870"/>
                <a:gd name="connsiteY1" fmla="*/ 577437 h 606333"/>
                <a:gd name="connsiteX2" fmla="*/ 47508 w 125870"/>
                <a:gd name="connsiteY2" fmla="*/ 606334 h 606333"/>
                <a:gd name="connsiteX3" fmla="*/ 125871 w 125870"/>
                <a:gd name="connsiteY3" fmla="*/ 303167 h 606333"/>
                <a:gd name="connsiteX4" fmla="*/ 47508 w 125870"/>
                <a:gd name="connsiteY4" fmla="*/ 0 h 606333"/>
                <a:gd name="connsiteX5" fmla="*/ 0 w 125870"/>
                <a:gd name="connsiteY5" fmla="*/ 28896 h 606333"/>
                <a:gd name="connsiteX6" fmla="*/ 70037 w 125870"/>
                <a:gd name="connsiteY6" fmla="*/ 303657 h 606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5870" h="606333">
                  <a:moveTo>
                    <a:pt x="70037" y="303657"/>
                  </a:moveTo>
                  <a:cubicBezTo>
                    <a:pt x="70037" y="403080"/>
                    <a:pt x="44569" y="496136"/>
                    <a:pt x="0" y="577437"/>
                  </a:cubicBezTo>
                  <a:cubicBezTo>
                    <a:pt x="17632" y="584294"/>
                    <a:pt x="33794" y="594089"/>
                    <a:pt x="47508" y="606334"/>
                  </a:cubicBezTo>
                  <a:cubicBezTo>
                    <a:pt x="97464" y="516706"/>
                    <a:pt x="125871" y="413365"/>
                    <a:pt x="125871" y="303167"/>
                  </a:cubicBezTo>
                  <a:cubicBezTo>
                    <a:pt x="125871" y="192969"/>
                    <a:pt x="97464" y="90117"/>
                    <a:pt x="47508" y="0"/>
                  </a:cubicBezTo>
                  <a:cubicBezTo>
                    <a:pt x="33794" y="12244"/>
                    <a:pt x="17632" y="22529"/>
                    <a:pt x="0" y="28896"/>
                  </a:cubicBezTo>
                  <a:cubicBezTo>
                    <a:pt x="44569" y="110688"/>
                    <a:pt x="70037" y="204234"/>
                    <a:pt x="70037" y="303657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8F23ED42-FED9-4F18-BDAC-A77AD7B853CC}"/>
                </a:ext>
              </a:extLst>
            </p:cNvPr>
            <p:cNvSpPr/>
            <p:nvPr/>
          </p:nvSpPr>
          <p:spPr bwMode="gray">
            <a:xfrm>
              <a:off x="9148377" y="4960433"/>
              <a:ext cx="447617" cy="95824"/>
            </a:xfrm>
            <a:custGeom>
              <a:avLst/>
              <a:gdLst>
                <a:gd name="connsiteX0" fmla="*/ 643066 w 674901"/>
                <a:gd name="connsiteY0" fmla="*/ 0 h 144481"/>
                <a:gd name="connsiteX1" fmla="*/ 337451 w 674901"/>
                <a:gd name="connsiteY1" fmla="*/ 88648 h 144481"/>
                <a:gd name="connsiteX2" fmla="*/ 31835 w 674901"/>
                <a:gd name="connsiteY2" fmla="*/ 0 h 144481"/>
                <a:gd name="connsiteX3" fmla="*/ 0 w 674901"/>
                <a:gd name="connsiteY3" fmla="*/ 45548 h 144481"/>
                <a:gd name="connsiteX4" fmla="*/ 337451 w 674901"/>
                <a:gd name="connsiteY4" fmla="*/ 144482 h 144481"/>
                <a:gd name="connsiteX5" fmla="*/ 674901 w 674901"/>
                <a:gd name="connsiteY5" fmla="*/ 45548 h 144481"/>
                <a:gd name="connsiteX6" fmla="*/ 643066 w 674901"/>
                <a:gd name="connsiteY6" fmla="*/ 0 h 144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4901" h="144481">
                  <a:moveTo>
                    <a:pt x="643066" y="0"/>
                  </a:moveTo>
                  <a:cubicBezTo>
                    <a:pt x="554908" y="56323"/>
                    <a:pt x="450097" y="88648"/>
                    <a:pt x="337451" y="88648"/>
                  </a:cubicBezTo>
                  <a:cubicBezTo>
                    <a:pt x="224804" y="88648"/>
                    <a:pt x="119993" y="55834"/>
                    <a:pt x="31835" y="0"/>
                  </a:cubicBezTo>
                  <a:cubicBezTo>
                    <a:pt x="23999" y="17142"/>
                    <a:pt x="13224" y="32325"/>
                    <a:pt x="0" y="45548"/>
                  </a:cubicBezTo>
                  <a:cubicBezTo>
                    <a:pt x="97464" y="108239"/>
                    <a:pt x="213049" y="144482"/>
                    <a:pt x="337451" y="144482"/>
                  </a:cubicBezTo>
                  <a:cubicBezTo>
                    <a:pt x="461852" y="144482"/>
                    <a:pt x="577927" y="108239"/>
                    <a:pt x="674901" y="45548"/>
                  </a:cubicBezTo>
                  <a:cubicBezTo>
                    <a:pt x="662167" y="32814"/>
                    <a:pt x="650903" y="17142"/>
                    <a:pt x="643066" y="0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40791A3B-7D8D-4AB7-A520-E440FBAAA4C0}"/>
                </a:ext>
              </a:extLst>
            </p:cNvPr>
            <p:cNvSpPr>
              <a:spLocks/>
            </p:cNvSpPr>
            <p:nvPr/>
          </p:nvSpPr>
          <p:spPr bwMode="gray">
            <a:xfrm>
              <a:off x="9088118" y="4356734"/>
              <a:ext cx="568778" cy="571052"/>
            </a:xfrm>
            <a:custGeom>
              <a:avLst/>
              <a:gdLst>
                <a:gd name="connsiteX0" fmla="*/ 789507 w 857584"/>
                <a:gd name="connsiteY0" fmla="*/ 662657 h 861013"/>
                <a:gd name="connsiteX1" fmla="*/ 796854 w 857584"/>
                <a:gd name="connsiteY1" fmla="*/ 651392 h 861013"/>
                <a:gd name="connsiteX2" fmla="*/ 857585 w 857584"/>
                <a:gd name="connsiteY2" fmla="*/ 430507 h 861013"/>
                <a:gd name="connsiteX3" fmla="*/ 429037 w 857584"/>
                <a:gd name="connsiteY3" fmla="*/ 0 h 861013"/>
                <a:gd name="connsiteX4" fmla="*/ 415814 w 857584"/>
                <a:gd name="connsiteY4" fmla="*/ 490 h 861013"/>
                <a:gd name="connsiteX5" fmla="*/ 121952 w 857584"/>
                <a:gd name="connsiteY5" fmla="*/ 130768 h 861013"/>
                <a:gd name="connsiteX6" fmla="*/ 0 w 857584"/>
                <a:gd name="connsiteY6" fmla="*/ 430507 h 861013"/>
                <a:gd name="connsiteX7" fmla="*/ 121463 w 857584"/>
                <a:gd name="connsiteY7" fmla="*/ 730245 h 861013"/>
                <a:gd name="connsiteX8" fmla="*/ 414834 w 857584"/>
                <a:gd name="connsiteY8" fmla="*/ 860523 h 861013"/>
                <a:gd name="connsiteX9" fmla="*/ 428548 w 857584"/>
                <a:gd name="connsiteY9" fmla="*/ 861013 h 861013"/>
                <a:gd name="connsiteX10" fmla="*/ 640128 w 857584"/>
                <a:gd name="connsiteY10" fmla="*/ 804690 h 861013"/>
                <a:gd name="connsiteX11" fmla="*/ 789507 w 857584"/>
                <a:gd name="connsiteY11" fmla="*/ 662657 h 861013"/>
                <a:gd name="connsiteX12" fmla="*/ 281127 w 857584"/>
                <a:gd name="connsiteY12" fmla="*/ 86199 h 861013"/>
                <a:gd name="connsiteX13" fmla="*/ 224804 w 857584"/>
                <a:gd name="connsiteY13" fmla="*/ 199826 h 861013"/>
                <a:gd name="connsiteX14" fmla="*/ 134197 w 857584"/>
                <a:gd name="connsiteY14" fmla="*/ 199826 h 861013"/>
                <a:gd name="connsiteX15" fmla="*/ 281127 w 857584"/>
                <a:gd name="connsiteY15" fmla="*/ 86199 h 861013"/>
                <a:gd name="connsiteX16" fmla="*/ 98933 w 857584"/>
                <a:gd name="connsiteY16" fmla="*/ 255169 h 861013"/>
                <a:gd name="connsiteX17" fmla="*/ 209621 w 857584"/>
                <a:gd name="connsiteY17" fmla="*/ 255169 h 861013"/>
                <a:gd name="connsiteX18" fmla="*/ 191010 w 857584"/>
                <a:gd name="connsiteY18" fmla="*/ 402590 h 861013"/>
                <a:gd name="connsiteX19" fmla="*/ 56813 w 857584"/>
                <a:gd name="connsiteY19" fmla="*/ 402590 h 861013"/>
                <a:gd name="connsiteX20" fmla="*/ 98933 w 857584"/>
                <a:gd name="connsiteY20" fmla="*/ 255169 h 861013"/>
                <a:gd name="connsiteX21" fmla="*/ 99913 w 857584"/>
                <a:gd name="connsiteY21" fmla="*/ 607313 h 861013"/>
                <a:gd name="connsiteX22" fmla="*/ 56813 w 857584"/>
                <a:gd name="connsiteY22" fmla="*/ 457934 h 861013"/>
                <a:gd name="connsiteX23" fmla="*/ 191010 w 857584"/>
                <a:gd name="connsiteY23" fmla="*/ 457934 h 861013"/>
                <a:gd name="connsiteX24" fmla="*/ 210111 w 857584"/>
                <a:gd name="connsiteY24" fmla="*/ 607313 h 861013"/>
                <a:gd name="connsiteX25" fmla="*/ 99913 w 857584"/>
                <a:gd name="connsiteY25" fmla="*/ 607313 h 861013"/>
                <a:gd name="connsiteX26" fmla="*/ 135666 w 857584"/>
                <a:gd name="connsiteY26" fmla="*/ 662657 h 861013"/>
                <a:gd name="connsiteX27" fmla="*/ 225294 w 857584"/>
                <a:gd name="connsiteY27" fmla="*/ 662657 h 861013"/>
                <a:gd name="connsiteX28" fmla="*/ 280637 w 857584"/>
                <a:gd name="connsiteY28" fmla="*/ 774814 h 861013"/>
                <a:gd name="connsiteX29" fmla="*/ 135666 w 857584"/>
                <a:gd name="connsiteY29" fmla="*/ 662657 h 861013"/>
                <a:gd name="connsiteX30" fmla="*/ 401121 w 857584"/>
                <a:gd name="connsiteY30" fmla="*/ 802241 h 861013"/>
                <a:gd name="connsiteX31" fmla="*/ 302187 w 857584"/>
                <a:gd name="connsiteY31" fmla="*/ 702818 h 861013"/>
                <a:gd name="connsiteX32" fmla="*/ 284066 w 857584"/>
                <a:gd name="connsiteY32" fmla="*/ 662657 h 861013"/>
                <a:gd name="connsiteX33" fmla="*/ 400631 w 857584"/>
                <a:gd name="connsiteY33" fmla="*/ 662657 h 861013"/>
                <a:gd name="connsiteX34" fmla="*/ 400631 w 857584"/>
                <a:gd name="connsiteY34" fmla="*/ 802241 h 861013"/>
                <a:gd name="connsiteX35" fmla="*/ 401121 w 857584"/>
                <a:gd name="connsiteY35" fmla="*/ 607313 h 861013"/>
                <a:gd name="connsiteX36" fmla="*/ 266924 w 857584"/>
                <a:gd name="connsiteY36" fmla="*/ 607313 h 861013"/>
                <a:gd name="connsiteX37" fmla="*/ 245864 w 857584"/>
                <a:gd name="connsiteY37" fmla="*/ 457934 h 861013"/>
                <a:gd name="connsiteX38" fmla="*/ 401610 w 857584"/>
                <a:gd name="connsiteY38" fmla="*/ 457934 h 861013"/>
                <a:gd name="connsiteX39" fmla="*/ 401610 w 857584"/>
                <a:gd name="connsiteY39" fmla="*/ 607313 h 861013"/>
                <a:gd name="connsiteX40" fmla="*/ 401121 w 857584"/>
                <a:gd name="connsiteY40" fmla="*/ 402590 h 861013"/>
                <a:gd name="connsiteX41" fmla="*/ 245864 w 857584"/>
                <a:gd name="connsiteY41" fmla="*/ 402590 h 861013"/>
                <a:gd name="connsiteX42" fmla="*/ 266924 w 857584"/>
                <a:gd name="connsiteY42" fmla="*/ 255169 h 861013"/>
                <a:gd name="connsiteX43" fmla="*/ 401610 w 857584"/>
                <a:gd name="connsiteY43" fmla="*/ 255169 h 861013"/>
                <a:gd name="connsiteX44" fmla="*/ 401610 w 857584"/>
                <a:gd name="connsiteY44" fmla="*/ 402590 h 861013"/>
                <a:gd name="connsiteX45" fmla="*/ 401121 w 857584"/>
                <a:gd name="connsiteY45" fmla="*/ 199826 h 861013"/>
                <a:gd name="connsiteX46" fmla="*/ 284066 w 857584"/>
                <a:gd name="connsiteY46" fmla="*/ 199826 h 861013"/>
                <a:gd name="connsiteX47" fmla="*/ 302677 w 857584"/>
                <a:gd name="connsiteY47" fmla="*/ 158195 h 861013"/>
                <a:gd name="connsiteX48" fmla="*/ 401610 w 857584"/>
                <a:gd name="connsiteY48" fmla="*/ 58282 h 861013"/>
                <a:gd name="connsiteX49" fmla="*/ 401610 w 857584"/>
                <a:gd name="connsiteY49" fmla="*/ 199826 h 861013"/>
                <a:gd name="connsiteX50" fmla="*/ 757672 w 857584"/>
                <a:gd name="connsiteY50" fmla="*/ 607313 h 861013"/>
                <a:gd name="connsiteX51" fmla="*/ 636209 w 857584"/>
                <a:gd name="connsiteY51" fmla="*/ 607313 h 861013"/>
                <a:gd name="connsiteX52" fmla="*/ 655310 w 857584"/>
                <a:gd name="connsiteY52" fmla="*/ 457934 h 861013"/>
                <a:gd name="connsiteX53" fmla="*/ 801262 w 857584"/>
                <a:gd name="connsiteY53" fmla="*/ 457934 h 861013"/>
                <a:gd name="connsiteX54" fmla="*/ 757672 w 857584"/>
                <a:gd name="connsiteY54" fmla="*/ 607313 h 861013"/>
                <a:gd name="connsiteX55" fmla="*/ 758652 w 857584"/>
                <a:gd name="connsiteY55" fmla="*/ 255169 h 861013"/>
                <a:gd name="connsiteX56" fmla="*/ 801262 w 857584"/>
                <a:gd name="connsiteY56" fmla="*/ 402590 h 861013"/>
                <a:gd name="connsiteX57" fmla="*/ 655310 w 857584"/>
                <a:gd name="connsiteY57" fmla="*/ 402590 h 861013"/>
                <a:gd name="connsiteX58" fmla="*/ 636209 w 857584"/>
                <a:gd name="connsiteY58" fmla="*/ 255169 h 861013"/>
                <a:gd name="connsiteX59" fmla="*/ 758652 w 857584"/>
                <a:gd name="connsiteY59" fmla="*/ 255169 h 861013"/>
                <a:gd name="connsiteX60" fmla="*/ 723388 w 857584"/>
                <a:gd name="connsiteY60" fmla="*/ 199826 h 861013"/>
                <a:gd name="connsiteX61" fmla="*/ 621027 w 857584"/>
                <a:gd name="connsiteY61" fmla="*/ 199826 h 861013"/>
                <a:gd name="connsiteX62" fmla="*/ 559806 w 857584"/>
                <a:gd name="connsiteY62" fmla="*/ 78853 h 861013"/>
                <a:gd name="connsiteX63" fmla="*/ 723388 w 857584"/>
                <a:gd name="connsiteY63" fmla="*/ 199826 h 861013"/>
                <a:gd name="connsiteX64" fmla="*/ 456464 w 857584"/>
                <a:gd name="connsiteY64" fmla="*/ 62201 h 861013"/>
                <a:gd name="connsiteX65" fmla="*/ 543643 w 857584"/>
                <a:gd name="connsiteY65" fmla="*/ 158195 h 861013"/>
                <a:gd name="connsiteX66" fmla="*/ 561765 w 857584"/>
                <a:gd name="connsiteY66" fmla="*/ 199826 h 861013"/>
                <a:gd name="connsiteX67" fmla="*/ 455975 w 857584"/>
                <a:gd name="connsiteY67" fmla="*/ 199826 h 861013"/>
                <a:gd name="connsiteX68" fmla="*/ 455975 w 857584"/>
                <a:gd name="connsiteY68" fmla="*/ 62201 h 861013"/>
                <a:gd name="connsiteX69" fmla="*/ 456464 w 857584"/>
                <a:gd name="connsiteY69" fmla="*/ 255169 h 861013"/>
                <a:gd name="connsiteX70" fmla="*/ 579886 w 857584"/>
                <a:gd name="connsiteY70" fmla="*/ 255169 h 861013"/>
                <a:gd name="connsiteX71" fmla="*/ 600456 w 857584"/>
                <a:gd name="connsiteY71" fmla="*/ 402590 h 861013"/>
                <a:gd name="connsiteX72" fmla="*/ 456464 w 857584"/>
                <a:gd name="connsiteY72" fmla="*/ 402590 h 861013"/>
                <a:gd name="connsiteX73" fmla="*/ 456464 w 857584"/>
                <a:gd name="connsiteY73" fmla="*/ 255169 h 861013"/>
                <a:gd name="connsiteX74" fmla="*/ 456464 w 857584"/>
                <a:gd name="connsiteY74" fmla="*/ 457934 h 861013"/>
                <a:gd name="connsiteX75" fmla="*/ 600456 w 857584"/>
                <a:gd name="connsiteY75" fmla="*/ 457934 h 861013"/>
                <a:gd name="connsiteX76" fmla="*/ 579396 w 857584"/>
                <a:gd name="connsiteY76" fmla="*/ 607313 h 861013"/>
                <a:gd name="connsiteX77" fmla="*/ 456954 w 857584"/>
                <a:gd name="connsiteY77" fmla="*/ 607313 h 861013"/>
                <a:gd name="connsiteX78" fmla="*/ 456954 w 857584"/>
                <a:gd name="connsiteY78" fmla="*/ 457934 h 861013"/>
                <a:gd name="connsiteX79" fmla="*/ 456464 w 857584"/>
                <a:gd name="connsiteY79" fmla="*/ 798323 h 861013"/>
                <a:gd name="connsiteX80" fmla="*/ 456464 w 857584"/>
                <a:gd name="connsiteY80" fmla="*/ 662657 h 861013"/>
                <a:gd name="connsiteX81" fmla="*/ 561275 w 857584"/>
                <a:gd name="connsiteY81" fmla="*/ 662657 h 861013"/>
                <a:gd name="connsiteX82" fmla="*/ 543643 w 857584"/>
                <a:gd name="connsiteY82" fmla="*/ 702818 h 861013"/>
                <a:gd name="connsiteX83" fmla="*/ 456464 w 857584"/>
                <a:gd name="connsiteY83" fmla="*/ 798323 h 861013"/>
                <a:gd name="connsiteX84" fmla="*/ 560295 w 857584"/>
                <a:gd name="connsiteY84" fmla="*/ 781181 h 861013"/>
                <a:gd name="connsiteX85" fmla="*/ 621027 w 857584"/>
                <a:gd name="connsiteY85" fmla="*/ 662167 h 861013"/>
                <a:gd name="connsiteX86" fmla="*/ 721919 w 857584"/>
                <a:gd name="connsiteY86" fmla="*/ 662167 h 861013"/>
                <a:gd name="connsiteX87" fmla="*/ 560295 w 857584"/>
                <a:gd name="connsiteY87" fmla="*/ 781181 h 86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857584" h="861013">
                  <a:moveTo>
                    <a:pt x="789507" y="662657"/>
                  </a:moveTo>
                  <a:lnTo>
                    <a:pt x="796854" y="651392"/>
                  </a:lnTo>
                  <a:cubicBezTo>
                    <a:pt x="836525" y="584784"/>
                    <a:pt x="857585" y="508380"/>
                    <a:pt x="857585" y="430507"/>
                  </a:cubicBezTo>
                  <a:cubicBezTo>
                    <a:pt x="857585" y="192969"/>
                    <a:pt x="665106" y="0"/>
                    <a:pt x="429037" y="0"/>
                  </a:cubicBezTo>
                  <a:lnTo>
                    <a:pt x="415814" y="490"/>
                  </a:lnTo>
                  <a:cubicBezTo>
                    <a:pt x="304146" y="3918"/>
                    <a:pt x="199826" y="50446"/>
                    <a:pt x="121952" y="130768"/>
                  </a:cubicBezTo>
                  <a:cubicBezTo>
                    <a:pt x="43100" y="211580"/>
                    <a:pt x="0" y="317860"/>
                    <a:pt x="0" y="430507"/>
                  </a:cubicBezTo>
                  <a:cubicBezTo>
                    <a:pt x="0" y="543153"/>
                    <a:pt x="43100" y="649433"/>
                    <a:pt x="121463" y="730245"/>
                  </a:cubicBezTo>
                  <a:cubicBezTo>
                    <a:pt x="199336" y="810567"/>
                    <a:pt x="303657" y="857095"/>
                    <a:pt x="414834" y="860523"/>
                  </a:cubicBezTo>
                  <a:cubicBezTo>
                    <a:pt x="417773" y="861013"/>
                    <a:pt x="428548" y="861013"/>
                    <a:pt x="428548" y="861013"/>
                  </a:cubicBezTo>
                  <a:cubicBezTo>
                    <a:pt x="502992" y="861013"/>
                    <a:pt x="575968" y="841423"/>
                    <a:pt x="640128" y="804690"/>
                  </a:cubicBezTo>
                  <a:cubicBezTo>
                    <a:pt x="700859" y="769916"/>
                    <a:pt x="752285" y="720939"/>
                    <a:pt x="789507" y="662657"/>
                  </a:cubicBezTo>
                  <a:close/>
                  <a:moveTo>
                    <a:pt x="281127" y="86199"/>
                  </a:moveTo>
                  <a:cubicBezTo>
                    <a:pt x="258598" y="117544"/>
                    <a:pt x="239497" y="155746"/>
                    <a:pt x="224804" y="199826"/>
                  </a:cubicBezTo>
                  <a:lnTo>
                    <a:pt x="134197" y="199826"/>
                  </a:lnTo>
                  <a:cubicBezTo>
                    <a:pt x="173378" y="150359"/>
                    <a:pt x="223824" y="111177"/>
                    <a:pt x="281127" y="86199"/>
                  </a:cubicBezTo>
                  <a:close/>
                  <a:moveTo>
                    <a:pt x="98933" y="255169"/>
                  </a:moveTo>
                  <a:lnTo>
                    <a:pt x="209621" y="255169"/>
                  </a:lnTo>
                  <a:cubicBezTo>
                    <a:pt x="198846" y="301698"/>
                    <a:pt x="192479" y="351164"/>
                    <a:pt x="191010" y="402590"/>
                  </a:cubicBezTo>
                  <a:lnTo>
                    <a:pt x="56813" y="402590"/>
                  </a:lnTo>
                  <a:cubicBezTo>
                    <a:pt x="60242" y="351164"/>
                    <a:pt x="74445" y="300718"/>
                    <a:pt x="98933" y="255169"/>
                  </a:cubicBezTo>
                  <a:close/>
                  <a:moveTo>
                    <a:pt x="99913" y="607313"/>
                  </a:moveTo>
                  <a:cubicBezTo>
                    <a:pt x="74935" y="561275"/>
                    <a:pt x="60242" y="509849"/>
                    <a:pt x="56813" y="457934"/>
                  </a:cubicBezTo>
                  <a:lnTo>
                    <a:pt x="191010" y="457934"/>
                  </a:lnTo>
                  <a:cubicBezTo>
                    <a:pt x="192479" y="509849"/>
                    <a:pt x="199336" y="559806"/>
                    <a:pt x="210111" y="607313"/>
                  </a:cubicBezTo>
                  <a:lnTo>
                    <a:pt x="99913" y="607313"/>
                  </a:lnTo>
                  <a:close/>
                  <a:moveTo>
                    <a:pt x="135666" y="662657"/>
                  </a:moveTo>
                  <a:lnTo>
                    <a:pt x="225294" y="662657"/>
                  </a:lnTo>
                  <a:cubicBezTo>
                    <a:pt x="239987" y="706246"/>
                    <a:pt x="259088" y="744448"/>
                    <a:pt x="280637" y="774814"/>
                  </a:cubicBezTo>
                  <a:cubicBezTo>
                    <a:pt x="224314" y="749836"/>
                    <a:pt x="174358" y="711144"/>
                    <a:pt x="135666" y="662657"/>
                  </a:cubicBezTo>
                  <a:close/>
                  <a:moveTo>
                    <a:pt x="401121" y="802241"/>
                  </a:moveTo>
                  <a:cubicBezTo>
                    <a:pt x="364878" y="792446"/>
                    <a:pt x="330594" y="757672"/>
                    <a:pt x="302187" y="702818"/>
                  </a:cubicBezTo>
                  <a:cubicBezTo>
                    <a:pt x="295820" y="690084"/>
                    <a:pt x="289943" y="676860"/>
                    <a:pt x="284066" y="662657"/>
                  </a:cubicBezTo>
                  <a:lnTo>
                    <a:pt x="400631" y="662657"/>
                  </a:lnTo>
                  <a:lnTo>
                    <a:pt x="400631" y="802241"/>
                  </a:lnTo>
                  <a:close/>
                  <a:moveTo>
                    <a:pt x="401121" y="607313"/>
                  </a:moveTo>
                  <a:lnTo>
                    <a:pt x="266924" y="607313"/>
                  </a:lnTo>
                  <a:cubicBezTo>
                    <a:pt x="255169" y="561765"/>
                    <a:pt x="247823" y="510829"/>
                    <a:pt x="245864" y="457934"/>
                  </a:cubicBezTo>
                  <a:lnTo>
                    <a:pt x="401610" y="457934"/>
                  </a:lnTo>
                  <a:lnTo>
                    <a:pt x="401610" y="607313"/>
                  </a:lnTo>
                  <a:close/>
                  <a:moveTo>
                    <a:pt x="401121" y="402590"/>
                  </a:moveTo>
                  <a:lnTo>
                    <a:pt x="245864" y="402590"/>
                  </a:lnTo>
                  <a:cubicBezTo>
                    <a:pt x="247823" y="350674"/>
                    <a:pt x="255169" y="300228"/>
                    <a:pt x="266924" y="255169"/>
                  </a:cubicBezTo>
                  <a:lnTo>
                    <a:pt x="401610" y="255169"/>
                  </a:lnTo>
                  <a:lnTo>
                    <a:pt x="401610" y="402590"/>
                  </a:lnTo>
                  <a:close/>
                  <a:moveTo>
                    <a:pt x="401121" y="199826"/>
                  </a:moveTo>
                  <a:lnTo>
                    <a:pt x="284066" y="199826"/>
                  </a:lnTo>
                  <a:cubicBezTo>
                    <a:pt x="289943" y="184153"/>
                    <a:pt x="295820" y="170929"/>
                    <a:pt x="302677" y="158195"/>
                  </a:cubicBezTo>
                  <a:cubicBezTo>
                    <a:pt x="330594" y="102851"/>
                    <a:pt x="365367" y="68078"/>
                    <a:pt x="401610" y="58282"/>
                  </a:cubicBezTo>
                  <a:lnTo>
                    <a:pt x="401610" y="199826"/>
                  </a:lnTo>
                  <a:close/>
                  <a:moveTo>
                    <a:pt x="757672" y="607313"/>
                  </a:moveTo>
                  <a:lnTo>
                    <a:pt x="636209" y="607313"/>
                  </a:lnTo>
                  <a:cubicBezTo>
                    <a:pt x="647474" y="559806"/>
                    <a:pt x="653841" y="509849"/>
                    <a:pt x="655310" y="457934"/>
                  </a:cubicBezTo>
                  <a:lnTo>
                    <a:pt x="801262" y="457934"/>
                  </a:lnTo>
                  <a:cubicBezTo>
                    <a:pt x="797343" y="510339"/>
                    <a:pt x="782650" y="561275"/>
                    <a:pt x="757672" y="607313"/>
                  </a:cubicBezTo>
                  <a:close/>
                  <a:moveTo>
                    <a:pt x="758652" y="255169"/>
                  </a:moveTo>
                  <a:cubicBezTo>
                    <a:pt x="782650" y="300228"/>
                    <a:pt x="797343" y="351164"/>
                    <a:pt x="801262" y="402590"/>
                  </a:cubicBezTo>
                  <a:lnTo>
                    <a:pt x="655310" y="402590"/>
                  </a:lnTo>
                  <a:cubicBezTo>
                    <a:pt x="653841" y="350674"/>
                    <a:pt x="647474" y="301208"/>
                    <a:pt x="636209" y="255169"/>
                  </a:cubicBezTo>
                  <a:lnTo>
                    <a:pt x="758652" y="255169"/>
                  </a:lnTo>
                  <a:close/>
                  <a:moveTo>
                    <a:pt x="723388" y="199826"/>
                  </a:moveTo>
                  <a:lnTo>
                    <a:pt x="621027" y="199826"/>
                  </a:lnTo>
                  <a:cubicBezTo>
                    <a:pt x="605354" y="152318"/>
                    <a:pt x="584294" y="111177"/>
                    <a:pt x="559806" y="78853"/>
                  </a:cubicBezTo>
                  <a:cubicBezTo>
                    <a:pt x="624455" y="103341"/>
                    <a:pt x="680778" y="144972"/>
                    <a:pt x="723388" y="199826"/>
                  </a:cubicBezTo>
                  <a:close/>
                  <a:moveTo>
                    <a:pt x="456464" y="62201"/>
                  </a:moveTo>
                  <a:cubicBezTo>
                    <a:pt x="488299" y="75914"/>
                    <a:pt x="519155" y="109218"/>
                    <a:pt x="543643" y="158195"/>
                  </a:cubicBezTo>
                  <a:cubicBezTo>
                    <a:pt x="550010" y="170439"/>
                    <a:pt x="556377" y="184153"/>
                    <a:pt x="561765" y="199826"/>
                  </a:cubicBezTo>
                  <a:lnTo>
                    <a:pt x="455975" y="199826"/>
                  </a:lnTo>
                  <a:lnTo>
                    <a:pt x="455975" y="62201"/>
                  </a:lnTo>
                  <a:close/>
                  <a:moveTo>
                    <a:pt x="456464" y="255169"/>
                  </a:moveTo>
                  <a:lnTo>
                    <a:pt x="579886" y="255169"/>
                  </a:lnTo>
                  <a:cubicBezTo>
                    <a:pt x="591641" y="300718"/>
                    <a:pt x="598497" y="351164"/>
                    <a:pt x="600456" y="402590"/>
                  </a:cubicBezTo>
                  <a:lnTo>
                    <a:pt x="456464" y="402590"/>
                  </a:lnTo>
                  <a:lnTo>
                    <a:pt x="456464" y="255169"/>
                  </a:lnTo>
                  <a:close/>
                  <a:moveTo>
                    <a:pt x="456464" y="457934"/>
                  </a:moveTo>
                  <a:lnTo>
                    <a:pt x="600456" y="457934"/>
                  </a:lnTo>
                  <a:cubicBezTo>
                    <a:pt x="598497" y="510829"/>
                    <a:pt x="591641" y="561765"/>
                    <a:pt x="579396" y="607313"/>
                  </a:cubicBezTo>
                  <a:lnTo>
                    <a:pt x="456954" y="607313"/>
                  </a:lnTo>
                  <a:lnTo>
                    <a:pt x="456954" y="457934"/>
                  </a:lnTo>
                  <a:close/>
                  <a:moveTo>
                    <a:pt x="456464" y="798323"/>
                  </a:moveTo>
                  <a:lnTo>
                    <a:pt x="456464" y="662657"/>
                  </a:lnTo>
                  <a:lnTo>
                    <a:pt x="561275" y="662657"/>
                  </a:lnTo>
                  <a:cubicBezTo>
                    <a:pt x="555887" y="676371"/>
                    <a:pt x="550010" y="690084"/>
                    <a:pt x="543643" y="702818"/>
                  </a:cubicBezTo>
                  <a:cubicBezTo>
                    <a:pt x="518665" y="751305"/>
                    <a:pt x="488299" y="784609"/>
                    <a:pt x="456464" y="798323"/>
                  </a:cubicBezTo>
                  <a:close/>
                  <a:moveTo>
                    <a:pt x="560295" y="781181"/>
                  </a:moveTo>
                  <a:cubicBezTo>
                    <a:pt x="584294" y="749346"/>
                    <a:pt x="604864" y="709185"/>
                    <a:pt x="621027" y="662167"/>
                  </a:cubicBezTo>
                  <a:lnTo>
                    <a:pt x="721919" y="662167"/>
                  </a:lnTo>
                  <a:cubicBezTo>
                    <a:pt x="679309" y="716532"/>
                    <a:pt x="623476" y="757672"/>
                    <a:pt x="560295" y="781181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1E377D10-F240-4016-8EE7-912134C374B6}"/>
                </a:ext>
              </a:extLst>
            </p:cNvPr>
            <p:cNvSpPr/>
            <p:nvPr/>
          </p:nvSpPr>
          <p:spPr bwMode="gray">
            <a:xfrm>
              <a:off x="9013247" y="4301351"/>
              <a:ext cx="128958" cy="128633"/>
            </a:xfrm>
            <a:custGeom>
              <a:avLst/>
              <a:gdLst>
                <a:gd name="connsiteX0" fmla="*/ 194438 w 194438"/>
                <a:gd name="connsiteY0" fmla="*/ 96974 h 193948"/>
                <a:gd name="connsiteX1" fmla="*/ 97464 w 194438"/>
                <a:gd name="connsiteY1" fmla="*/ 0 h 193948"/>
                <a:gd name="connsiteX2" fmla="*/ 0 w 194438"/>
                <a:gd name="connsiteY2" fmla="*/ 96974 h 193948"/>
                <a:gd name="connsiteX3" fmla="*/ 96974 w 194438"/>
                <a:gd name="connsiteY3" fmla="*/ 193948 h 193948"/>
                <a:gd name="connsiteX4" fmla="*/ 194438 w 194438"/>
                <a:gd name="connsiteY4" fmla="*/ 96974 h 193948"/>
                <a:gd name="connsiteX5" fmla="*/ 97464 w 194438"/>
                <a:gd name="connsiteY5" fmla="*/ 138605 h 193948"/>
                <a:gd name="connsiteX6" fmla="*/ 55834 w 194438"/>
                <a:gd name="connsiteY6" fmla="*/ 96974 h 193948"/>
                <a:gd name="connsiteX7" fmla="*/ 97464 w 194438"/>
                <a:gd name="connsiteY7" fmla="*/ 55344 h 193948"/>
                <a:gd name="connsiteX8" fmla="*/ 139094 w 194438"/>
                <a:gd name="connsiteY8" fmla="*/ 96974 h 193948"/>
                <a:gd name="connsiteX9" fmla="*/ 97464 w 194438"/>
                <a:gd name="connsiteY9" fmla="*/ 138605 h 19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438" h="193948">
                  <a:moveTo>
                    <a:pt x="194438" y="96974"/>
                  </a:moveTo>
                  <a:cubicBezTo>
                    <a:pt x="194438" y="43100"/>
                    <a:pt x="150849" y="0"/>
                    <a:pt x="97464" y="0"/>
                  </a:cubicBezTo>
                  <a:cubicBezTo>
                    <a:pt x="44079" y="0"/>
                    <a:pt x="0" y="43589"/>
                    <a:pt x="0" y="96974"/>
                  </a:cubicBezTo>
                  <a:cubicBezTo>
                    <a:pt x="0" y="150849"/>
                    <a:pt x="43589" y="193948"/>
                    <a:pt x="96974" y="193948"/>
                  </a:cubicBezTo>
                  <a:cubicBezTo>
                    <a:pt x="150359" y="193948"/>
                    <a:pt x="194438" y="150849"/>
                    <a:pt x="194438" y="96974"/>
                  </a:cubicBezTo>
                  <a:close/>
                  <a:moveTo>
                    <a:pt x="97464" y="138605"/>
                  </a:moveTo>
                  <a:cubicBezTo>
                    <a:pt x="74445" y="138605"/>
                    <a:pt x="55834" y="119993"/>
                    <a:pt x="55834" y="96974"/>
                  </a:cubicBezTo>
                  <a:cubicBezTo>
                    <a:pt x="55834" y="73955"/>
                    <a:pt x="74445" y="55344"/>
                    <a:pt x="97464" y="55344"/>
                  </a:cubicBezTo>
                  <a:cubicBezTo>
                    <a:pt x="120483" y="55344"/>
                    <a:pt x="139094" y="73955"/>
                    <a:pt x="139094" y="96974"/>
                  </a:cubicBezTo>
                  <a:cubicBezTo>
                    <a:pt x="139094" y="119993"/>
                    <a:pt x="119993" y="138605"/>
                    <a:pt x="97464" y="138605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716D501-3A7B-4160-9BCD-BF0D4439A1BA}"/>
                </a:ext>
              </a:extLst>
            </p:cNvPr>
            <p:cNvSpPr/>
            <p:nvPr/>
          </p:nvSpPr>
          <p:spPr bwMode="gray">
            <a:xfrm>
              <a:off x="9602812" y="4301676"/>
              <a:ext cx="128635" cy="128633"/>
            </a:xfrm>
            <a:custGeom>
              <a:avLst/>
              <a:gdLst>
                <a:gd name="connsiteX0" fmla="*/ 96978 w 193952"/>
                <a:gd name="connsiteY0" fmla="*/ 193948 h 193948"/>
                <a:gd name="connsiteX1" fmla="*/ 193953 w 193952"/>
                <a:gd name="connsiteY1" fmla="*/ 96974 h 193948"/>
                <a:gd name="connsiteX2" fmla="*/ 96978 w 193952"/>
                <a:gd name="connsiteY2" fmla="*/ 0 h 193948"/>
                <a:gd name="connsiteX3" fmla="*/ 4 w 193952"/>
                <a:gd name="connsiteY3" fmla="*/ 96974 h 193948"/>
                <a:gd name="connsiteX4" fmla="*/ 96978 w 193952"/>
                <a:gd name="connsiteY4" fmla="*/ 193948 h 193948"/>
                <a:gd name="connsiteX5" fmla="*/ 96978 w 193952"/>
                <a:gd name="connsiteY5" fmla="*/ 54854 h 193948"/>
                <a:gd name="connsiteX6" fmla="*/ 138609 w 193952"/>
                <a:gd name="connsiteY6" fmla="*/ 96484 h 193948"/>
                <a:gd name="connsiteX7" fmla="*/ 96978 w 193952"/>
                <a:gd name="connsiteY7" fmla="*/ 138115 h 193948"/>
                <a:gd name="connsiteX8" fmla="*/ 55348 w 193952"/>
                <a:gd name="connsiteY8" fmla="*/ 96484 h 193948"/>
                <a:gd name="connsiteX9" fmla="*/ 96978 w 193952"/>
                <a:gd name="connsiteY9" fmla="*/ 54854 h 19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52" h="193948">
                  <a:moveTo>
                    <a:pt x="96978" y="193948"/>
                  </a:moveTo>
                  <a:cubicBezTo>
                    <a:pt x="150853" y="193948"/>
                    <a:pt x="193953" y="150359"/>
                    <a:pt x="193953" y="96974"/>
                  </a:cubicBezTo>
                  <a:cubicBezTo>
                    <a:pt x="193953" y="43100"/>
                    <a:pt x="150363" y="0"/>
                    <a:pt x="96978" y="0"/>
                  </a:cubicBezTo>
                  <a:cubicBezTo>
                    <a:pt x="43104" y="0"/>
                    <a:pt x="4" y="43589"/>
                    <a:pt x="4" y="96974"/>
                  </a:cubicBezTo>
                  <a:cubicBezTo>
                    <a:pt x="-486" y="150359"/>
                    <a:pt x="43104" y="193948"/>
                    <a:pt x="96978" y="193948"/>
                  </a:cubicBezTo>
                  <a:close/>
                  <a:moveTo>
                    <a:pt x="96978" y="54854"/>
                  </a:moveTo>
                  <a:cubicBezTo>
                    <a:pt x="119997" y="54854"/>
                    <a:pt x="138609" y="73465"/>
                    <a:pt x="138609" y="96484"/>
                  </a:cubicBezTo>
                  <a:cubicBezTo>
                    <a:pt x="138609" y="119504"/>
                    <a:pt x="119997" y="138115"/>
                    <a:pt x="96978" y="138115"/>
                  </a:cubicBezTo>
                  <a:cubicBezTo>
                    <a:pt x="73959" y="138115"/>
                    <a:pt x="55348" y="119504"/>
                    <a:pt x="55348" y="96484"/>
                  </a:cubicBezTo>
                  <a:cubicBezTo>
                    <a:pt x="55348" y="73465"/>
                    <a:pt x="73959" y="54854"/>
                    <a:pt x="96978" y="54854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05CA2C6-0D10-454F-898D-2A2F463646C7}"/>
                </a:ext>
              </a:extLst>
            </p:cNvPr>
            <p:cNvSpPr/>
            <p:nvPr/>
          </p:nvSpPr>
          <p:spPr bwMode="gray">
            <a:xfrm>
              <a:off x="9013572" y="4853888"/>
              <a:ext cx="128633" cy="128633"/>
            </a:xfrm>
            <a:custGeom>
              <a:avLst/>
              <a:gdLst>
                <a:gd name="connsiteX0" fmla="*/ 96974 w 193948"/>
                <a:gd name="connsiteY0" fmla="*/ 0 h 193948"/>
                <a:gd name="connsiteX1" fmla="*/ 0 w 193948"/>
                <a:gd name="connsiteY1" fmla="*/ 96974 h 193948"/>
                <a:gd name="connsiteX2" fmla="*/ 96974 w 193948"/>
                <a:gd name="connsiteY2" fmla="*/ 193948 h 193948"/>
                <a:gd name="connsiteX3" fmla="*/ 193948 w 193948"/>
                <a:gd name="connsiteY3" fmla="*/ 96974 h 193948"/>
                <a:gd name="connsiteX4" fmla="*/ 96974 w 193948"/>
                <a:gd name="connsiteY4" fmla="*/ 0 h 193948"/>
                <a:gd name="connsiteX5" fmla="*/ 96974 w 193948"/>
                <a:gd name="connsiteY5" fmla="*/ 138605 h 193948"/>
                <a:gd name="connsiteX6" fmla="*/ 55344 w 193948"/>
                <a:gd name="connsiteY6" fmla="*/ 96974 h 193948"/>
                <a:gd name="connsiteX7" fmla="*/ 96974 w 193948"/>
                <a:gd name="connsiteY7" fmla="*/ 55344 h 193948"/>
                <a:gd name="connsiteX8" fmla="*/ 138605 w 193948"/>
                <a:gd name="connsiteY8" fmla="*/ 96974 h 193948"/>
                <a:gd name="connsiteX9" fmla="*/ 96974 w 193948"/>
                <a:gd name="connsiteY9" fmla="*/ 138605 h 19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48" h="193948">
                  <a:moveTo>
                    <a:pt x="96974" y="0"/>
                  </a:moveTo>
                  <a:cubicBezTo>
                    <a:pt x="43100" y="0"/>
                    <a:pt x="0" y="43589"/>
                    <a:pt x="0" y="96974"/>
                  </a:cubicBezTo>
                  <a:cubicBezTo>
                    <a:pt x="0" y="150849"/>
                    <a:pt x="43589" y="193948"/>
                    <a:pt x="96974" y="193948"/>
                  </a:cubicBezTo>
                  <a:cubicBezTo>
                    <a:pt x="150359" y="193948"/>
                    <a:pt x="193948" y="150359"/>
                    <a:pt x="193948" y="96974"/>
                  </a:cubicBezTo>
                  <a:cubicBezTo>
                    <a:pt x="193948" y="43100"/>
                    <a:pt x="150359" y="0"/>
                    <a:pt x="96974" y="0"/>
                  </a:cubicBezTo>
                  <a:close/>
                  <a:moveTo>
                    <a:pt x="96974" y="138605"/>
                  </a:moveTo>
                  <a:cubicBezTo>
                    <a:pt x="73955" y="138605"/>
                    <a:pt x="55344" y="119993"/>
                    <a:pt x="55344" y="96974"/>
                  </a:cubicBezTo>
                  <a:cubicBezTo>
                    <a:pt x="55344" y="73955"/>
                    <a:pt x="73955" y="55344"/>
                    <a:pt x="96974" y="55344"/>
                  </a:cubicBezTo>
                  <a:cubicBezTo>
                    <a:pt x="119993" y="55344"/>
                    <a:pt x="138605" y="73955"/>
                    <a:pt x="138605" y="96974"/>
                  </a:cubicBezTo>
                  <a:cubicBezTo>
                    <a:pt x="138605" y="119993"/>
                    <a:pt x="119504" y="138605"/>
                    <a:pt x="96974" y="138605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E5446E2-4AC9-4823-90EE-CA80EAB0D23F}"/>
                </a:ext>
              </a:extLst>
            </p:cNvPr>
            <p:cNvSpPr/>
            <p:nvPr/>
          </p:nvSpPr>
          <p:spPr bwMode="gray">
            <a:xfrm>
              <a:off x="9602815" y="4853888"/>
              <a:ext cx="128633" cy="128633"/>
            </a:xfrm>
            <a:custGeom>
              <a:avLst/>
              <a:gdLst>
                <a:gd name="connsiteX0" fmla="*/ 96974 w 193948"/>
                <a:gd name="connsiteY0" fmla="*/ 0 h 193948"/>
                <a:gd name="connsiteX1" fmla="*/ 0 w 193948"/>
                <a:gd name="connsiteY1" fmla="*/ 96974 h 193948"/>
                <a:gd name="connsiteX2" fmla="*/ 96974 w 193948"/>
                <a:gd name="connsiteY2" fmla="*/ 193948 h 193948"/>
                <a:gd name="connsiteX3" fmla="*/ 193948 w 193948"/>
                <a:gd name="connsiteY3" fmla="*/ 96974 h 193948"/>
                <a:gd name="connsiteX4" fmla="*/ 96974 w 193948"/>
                <a:gd name="connsiteY4" fmla="*/ 0 h 193948"/>
                <a:gd name="connsiteX5" fmla="*/ 96974 w 193948"/>
                <a:gd name="connsiteY5" fmla="*/ 138605 h 193948"/>
                <a:gd name="connsiteX6" fmla="*/ 55344 w 193948"/>
                <a:gd name="connsiteY6" fmla="*/ 96974 h 193948"/>
                <a:gd name="connsiteX7" fmla="*/ 96974 w 193948"/>
                <a:gd name="connsiteY7" fmla="*/ 55344 h 193948"/>
                <a:gd name="connsiteX8" fmla="*/ 138605 w 193948"/>
                <a:gd name="connsiteY8" fmla="*/ 96974 h 193948"/>
                <a:gd name="connsiteX9" fmla="*/ 96974 w 193948"/>
                <a:gd name="connsiteY9" fmla="*/ 138605 h 193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3948" h="193948">
                  <a:moveTo>
                    <a:pt x="96974" y="0"/>
                  </a:moveTo>
                  <a:cubicBezTo>
                    <a:pt x="43100" y="0"/>
                    <a:pt x="0" y="43589"/>
                    <a:pt x="0" y="96974"/>
                  </a:cubicBezTo>
                  <a:cubicBezTo>
                    <a:pt x="0" y="150849"/>
                    <a:pt x="43589" y="193948"/>
                    <a:pt x="96974" y="193948"/>
                  </a:cubicBezTo>
                  <a:cubicBezTo>
                    <a:pt x="150849" y="193948"/>
                    <a:pt x="193948" y="150359"/>
                    <a:pt x="193948" y="96974"/>
                  </a:cubicBezTo>
                  <a:cubicBezTo>
                    <a:pt x="193948" y="43100"/>
                    <a:pt x="150359" y="0"/>
                    <a:pt x="96974" y="0"/>
                  </a:cubicBezTo>
                  <a:close/>
                  <a:moveTo>
                    <a:pt x="96974" y="138605"/>
                  </a:moveTo>
                  <a:cubicBezTo>
                    <a:pt x="73955" y="138605"/>
                    <a:pt x="55344" y="119993"/>
                    <a:pt x="55344" y="96974"/>
                  </a:cubicBezTo>
                  <a:cubicBezTo>
                    <a:pt x="55344" y="73955"/>
                    <a:pt x="73955" y="55344"/>
                    <a:pt x="96974" y="55344"/>
                  </a:cubicBezTo>
                  <a:cubicBezTo>
                    <a:pt x="119993" y="55344"/>
                    <a:pt x="138605" y="73955"/>
                    <a:pt x="138605" y="96974"/>
                  </a:cubicBezTo>
                  <a:cubicBezTo>
                    <a:pt x="138605" y="119993"/>
                    <a:pt x="119993" y="138605"/>
                    <a:pt x="96974" y="138605"/>
                  </a:cubicBezTo>
                  <a:close/>
                </a:path>
              </a:pathLst>
            </a:custGeom>
            <a:grpFill/>
            <a:ln w="48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9" name="Ellipse 48">
            <a:extLst>
              <a:ext uri="{FF2B5EF4-FFF2-40B4-BE49-F238E27FC236}">
                <a16:creationId xmlns:a16="http://schemas.microsoft.com/office/drawing/2014/main" id="{0CC4440B-5A10-4746-8330-FFD59A39175D}"/>
              </a:ext>
            </a:extLst>
          </p:cNvPr>
          <p:cNvSpPr>
            <a:spLocks/>
          </p:cNvSpPr>
          <p:nvPr/>
        </p:nvSpPr>
        <p:spPr bwMode="auto">
          <a:xfrm>
            <a:off x="10266350" y="1920105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7DF07506-789D-48BA-8948-B5539C92B104}"/>
              </a:ext>
            </a:extLst>
          </p:cNvPr>
          <p:cNvSpPr>
            <a:spLocks/>
          </p:cNvSpPr>
          <p:nvPr/>
        </p:nvSpPr>
        <p:spPr bwMode="auto">
          <a:xfrm>
            <a:off x="10226769" y="1880524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52433FF5-61E1-4760-821A-73BCFE09AA45}"/>
              </a:ext>
            </a:extLst>
          </p:cNvPr>
          <p:cNvSpPr txBox="1">
            <a:spLocks/>
          </p:cNvSpPr>
          <p:nvPr/>
        </p:nvSpPr>
        <p:spPr bwMode="gray">
          <a:xfrm>
            <a:off x="9040272" y="5649297"/>
            <a:ext cx="2846928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ифровые процессы обеспечения запасными частями</a:t>
            </a:r>
            <a:endParaRPr kumimoji="0" lang="en-GB" sz="14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A6728AA6-A20A-4C93-9B89-1CEC7E15C4E5}"/>
              </a:ext>
            </a:extLst>
          </p:cNvPr>
          <p:cNvSpPr txBox="1">
            <a:spLocks/>
          </p:cNvSpPr>
          <p:nvPr/>
        </p:nvSpPr>
        <p:spPr bwMode="gray">
          <a:xfrm>
            <a:off x="6966841" y="2267406"/>
            <a:ext cx="1515994" cy="64633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spc="-10" dirty="0">
                <a:solidFill>
                  <a:srgbClr val="000000"/>
                </a:solidFill>
                <a:latin typeface="Arial"/>
              </a:rPr>
              <a:t>Предиктивные технологии ТО</a:t>
            </a:r>
            <a:r>
              <a:rPr kumimoji="0" lang="en-GB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77A19A90-961A-4E2F-89EB-892B3EE8B6B2}"/>
              </a:ext>
            </a:extLst>
          </p:cNvPr>
          <p:cNvGrpSpPr>
            <a:grpSpLocks/>
          </p:cNvGrpSpPr>
          <p:nvPr/>
        </p:nvGrpSpPr>
        <p:grpSpPr bwMode="gray">
          <a:xfrm>
            <a:off x="8974305" y="3196390"/>
            <a:ext cx="263866" cy="348606"/>
            <a:chOff x="5617404" y="2311723"/>
            <a:chExt cx="556480" cy="735197"/>
          </a:xfrm>
          <a:solidFill>
            <a:schemeClr val="accent4"/>
          </a:solidFill>
        </p:grpSpPr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16B635EB-231B-41F0-995D-663BC150806B}"/>
                </a:ext>
              </a:extLst>
            </p:cNvPr>
            <p:cNvSpPr/>
            <p:nvPr/>
          </p:nvSpPr>
          <p:spPr bwMode="gray">
            <a:xfrm>
              <a:off x="5796123" y="2311723"/>
              <a:ext cx="377761" cy="675274"/>
            </a:xfrm>
            <a:custGeom>
              <a:avLst/>
              <a:gdLst>
                <a:gd name="connsiteX0" fmla="*/ 338514 w 377761"/>
                <a:gd name="connsiteY0" fmla="*/ 0 h 675274"/>
                <a:gd name="connsiteX1" fmla="*/ 39248 w 377761"/>
                <a:gd name="connsiteY1" fmla="*/ 0 h 675274"/>
                <a:gd name="connsiteX2" fmla="*/ 0 w 377761"/>
                <a:gd name="connsiteY2" fmla="*/ 39248 h 675274"/>
                <a:gd name="connsiteX3" fmla="*/ 0 w 377761"/>
                <a:gd name="connsiteY3" fmla="*/ 208154 h 675274"/>
                <a:gd name="connsiteX4" fmla="*/ 59573 w 377761"/>
                <a:gd name="connsiteY4" fmla="*/ 172411 h 675274"/>
                <a:gd name="connsiteX5" fmla="*/ 59573 w 377761"/>
                <a:gd name="connsiteY5" fmla="*/ 119146 h 675274"/>
                <a:gd name="connsiteX6" fmla="*/ 317838 w 377761"/>
                <a:gd name="connsiteY6" fmla="*/ 119146 h 675274"/>
                <a:gd name="connsiteX7" fmla="*/ 317838 w 377761"/>
                <a:gd name="connsiteY7" fmla="*/ 536505 h 675274"/>
                <a:gd name="connsiteX8" fmla="*/ 59573 w 377761"/>
                <a:gd name="connsiteY8" fmla="*/ 536505 h 675274"/>
                <a:gd name="connsiteX9" fmla="*/ 59573 w 377761"/>
                <a:gd name="connsiteY9" fmla="*/ 335360 h 675274"/>
                <a:gd name="connsiteX10" fmla="*/ 0 w 377761"/>
                <a:gd name="connsiteY10" fmla="*/ 377762 h 675274"/>
                <a:gd name="connsiteX11" fmla="*/ 0 w 377761"/>
                <a:gd name="connsiteY11" fmla="*/ 636027 h 675274"/>
                <a:gd name="connsiteX12" fmla="*/ 39248 w 377761"/>
                <a:gd name="connsiteY12" fmla="*/ 675275 h 675274"/>
                <a:gd name="connsiteX13" fmla="*/ 338514 w 377761"/>
                <a:gd name="connsiteY13" fmla="*/ 675275 h 675274"/>
                <a:gd name="connsiteX14" fmla="*/ 377762 w 377761"/>
                <a:gd name="connsiteY14" fmla="*/ 636027 h 675274"/>
                <a:gd name="connsiteX15" fmla="*/ 377762 w 377761"/>
                <a:gd name="connsiteY15" fmla="*/ 39248 h 675274"/>
                <a:gd name="connsiteX16" fmla="*/ 338514 w 377761"/>
                <a:gd name="connsiteY16" fmla="*/ 0 h 675274"/>
                <a:gd name="connsiteX17" fmla="*/ 238642 w 377761"/>
                <a:gd name="connsiteY17" fmla="*/ 79547 h 675274"/>
                <a:gd name="connsiteX18" fmla="*/ 139120 w 377761"/>
                <a:gd name="connsiteY18" fmla="*/ 79547 h 675274"/>
                <a:gd name="connsiteX19" fmla="*/ 139120 w 377761"/>
                <a:gd name="connsiteY19" fmla="*/ 39598 h 675274"/>
                <a:gd name="connsiteX20" fmla="*/ 238291 w 377761"/>
                <a:gd name="connsiteY20" fmla="*/ 39598 h 675274"/>
                <a:gd name="connsiteX21" fmla="*/ 238291 w 377761"/>
                <a:gd name="connsiteY21" fmla="*/ 79547 h 675274"/>
                <a:gd name="connsiteX22" fmla="*/ 188881 w 377761"/>
                <a:gd name="connsiteY22" fmla="*/ 635677 h 675274"/>
                <a:gd name="connsiteX23" fmla="*/ 159094 w 377761"/>
                <a:gd name="connsiteY23" fmla="*/ 605890 h 675274"/>
                <a:gd name="connsiteX24" fmla="*/ 160847 w 377761"/>
                <a:gd name="connsiteY24" fmla="*/ 595728 h 675274"/>
                <a:gd name="connsiteX25" fmla="*/ 188881 w 377761"/>
                <a:gd name="connsiteY25" fmla="*/ 576104 h 675274"/>
                <a:gd name="connsiteX26" fmla="*/ 216915 w 377761"/>
                <a:gd name="connsiteY26" fmla="*/ 595728 h 675274"/>
                <a:gd name="connsiteX27" fmla="*/ 218667 w 377761"/>
                <a:gd name="connsiteY27" fmla="*/ 605890 h 675274"/>
                <a:gd name="connsiteX28" fmla="*/ 188881 w 377761"/>
                <a:gd name="connsiteY28" fmla="*/ 635677 h 67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77761" h="675274">
                  <a:moveTo>
                    <a:pt x="338514" y="0"/>
                  </a:moveTo>
                  <a:lnTo>
                    <a:pt x="39248" y="0"/>
                  </a:lnTo>
                  <a:cubicBezTo>
                    <a:pt x="17521" y="0"/>
                    <a:pt x="0" y="17521"/>
                    <a:pt x="0" y="39248"/>
                  </a:cubicBezTo>
                  <a:lnTo>
                    <a:pt x="0" y="208154"/>
                  </a:lnTo>
                  <a:lnTo>
                    <a:pt x="59573" y="172411"/>
                  </a:lnTo>
                  <a:lnTo>
                    <a:pt x="59573" y="119146"/>
                  </a:lnTo>
                  <a:lnTo>
                    <a:pt x="317838" y="119146"/>
                  </a:lnTo>
                  <a:lnTo>
                    <a:pt x="317838" y="536505"/>
                  </a:lnTo>
                  <a:lnTo>
                    <a:pt x="59573" y="536505"/>
                  </a:lnTo>
                  <a:lnTo>
                    <a:pt x="59573" y="335360"/>
                  </a:lnTo>
                  <a:lnTo>
                    <a:pt x="0" y="377762"/>
                  </a:lnTo>
                  <a:lnTo>
                    <a:pt x="0" y="636027"/>
                  </a:lnTo>
                  <a:cubicBezTo>
                    <a:pt x="0" y="657754"/>
                    <a:pt x="17521" y="675275"/>
                    <a:pt x="39248" y="675275"/>
                  </a:cubicBezTo>
                  <a:lnTo>
                    <a:pt x="338514" y="675275"/>
                  </a:lnTo>
                  <a:cubicBezTo>
                    <a:pt x="360240" y="675275"/>
                    <a:pt x="377762" y="657754"/>
                    <a:pt x="377762" y="636027"/>
                  </a:cubicBezTo>
                  <a:lnTo>
                    <a:pt x="377762" y="39248"/>
                  </a:lnTo>
                  <a:cubicBezTo>
                    <a:pt x="377411" y="17521"/>
                    <a:pt x="359890" y="0"/>
                    <a:pt x="338514" y="0"/>
                  </a:cubicBezTo>
                  <a:close/>
                  <a:moveTo>
                    <a:pt x="238642" y="79547"/>
                  </a:moveTo>
                  <a:lnTo>
                    <a:pt x="139120" y="79547"/>
                  </a:lnTo>
                  <a:lnTo>
                    <a:pt x="139120" y="39598"/>
                  </a:lnTo>
                  <a:lnTo>
                    <a:pt x="238291" y="39598"/>
                  </a:lnTo>
                  <a:lnTo>
                    <a:pt x="238291" y="79547"/>
                  </a:lnTo>
                  <a:close/>
                  <a:moveTo>
                    <a:pt x="188881" y="635677"/>
                  </a:moveTo>
                  <a:cubicBezTo>
                    <a:pt x="172411" y="635677"/>
                    <a:pt x="159094" y="622360"/>
                    <a:pt x="159094" y="605890"/>
                  </a:cubicBezTo>
                  <a:cubicBezTo>
                    <a:pt x="159094" y="602386"/>
                    <a:pt x="159795" y="598882"/>
                    <a:pt x="160847" y="595728"/>
                  </a:cubicBezTo>
                  <a:cubicBezTo>
                    <a:pt x="165052" y="584164"/>
                    <a:pt x="175915" y="576104"/>
                    <a:pt x="188881" y="576104"/>
                  </a:cubicBezTo>
                  <a:cubicBezTo>
                    <a:pt x="201847" y="576104"/>
                    <a:pt x="212710" y="584164"/>
                    <a:pt x="216915" y="595728"/>
                  </a:cubicBezTo>
                  <a:cubicBezTo>
                    <a:pt x="217966" y="598882"/>
                    <a:pt x="218667" y="602386"/>
                    <a:pt x="218667" y="605890"/>
                  </a:cubicBezTo>
                  <a:cubicBezTo>
                    <a:pt x="218667" y="622360"/>
                    <a:pt x="205351" y="635677"/>
                    <a:pt x="188881" y="635677"/>
                  </a:cubicBezTo>
                  <a:close/>
                </a:path>
              </a:pathLst>
            </a:custGeom>
            <a:grpFill/>
            <a:ln w="34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388045F6-39F9-475D-9C5C-833521FF1C15}"/>
                </a:ext>
              </a:extLst>
            </p:cNvPr>
            <p:cNvSpPr/>
            <p:nvPr/>
          </p:nvSpPr>
          <p:spPr bwMode="gray">
            <a:xfrm>
              <a:off x="5617404" y="2848228"/>
              <a:ext cx="139120" cy="198692"/>
            </a:xfrm>
            <a:custGeom>
              <a:avLst/>
              <a:gdLst>
                <a:gd name="connsiteX0" fmla="*/ 0 w 139120"/>
                <a:gd name="connsiteY0" fmla="*/ 0 h 198692"/>
                <a:gd name="connsiteX1" fmla="*/ 0 w 139120"/>
                <a:gd name="connsiteY1" fmla="*/ 7009 h 198692"/>
                <a:gd name="connsiteX2" fmla="*/ 0 w 139120"/>
                <a:gd name="connsiteY2" fmla="*/ 139120 h 198692"/>
                <a:gd name="connsiteX3" fmla="*/ 139120 w 139120"/>
                <a:gd name="connsiteY3" fmla="*/ 198693 h 198692"/>
                <a:gd name="connsiteX4" fmla="*/ 139120 w 139120"/>
                <a:gd name="connsiteY4" fmla="*/ 62727 h 198692"/>
                <a:gd name="connsiteX5" fmla="*/ 139120 w 139120"/>
                <a:gd name="connsiteY5" fmla="*/ 59573 h 198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120" h="198692">
                  <a:moveTo>
                    <a:pt x="0" y="0"/>
                  </a:moveTo>
                  <a:lnTo>
                    <a:pt x="0" y="7009"/>
                  </a:lnTo>
                  <a:lnTo>
                    <a:pt x="0" y="139120"/>
                  </a:lnTo>
                  <a:lnTo>
                    <a:pt x="139120" y="198693"/>
                  </a:lnTo>
                  <a:lnTo>
                    <a:pt x="139120" y="62727"/>
                  </a:lnTo>
                  <a:lnTo>
                    <a:pt x="139120" y="59573"/>
                  </a:lnTo>
                  <a:close/>
                </a:path>
              </a:pathLst>
            </a:custGeom>
            <a:grpFill/>
            <a:ln w="34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55EF8F3F-666E-435F-9316-992D38F17FEF}"/>
                </a:ext>
              </a:extLst>
            </p:cNvPr>
            <p:cNvSpPr/>
            <p:nvPr/>
          </p:nvSpPr>
          <p:spPr bwMode="gray">
            <a:xfrm>
              <a:off x="5657002" y="2537679"/>
              <a:ext cx="222924" cy="330173"/>
            </a:xfrm>
            <a:custGeom>
              <a:avLst/>
              <a:gdLst>
                <a:gd name="connsiteX0" fmla="*/ 210958 w 222924"/>
                <a:gd name="connsiteY0" fmla="*/ 51933 h 330173"/>
                <a:gd name="connsiteX1" fmla="*/ 214462 w 222924"/>
                <a:gd name="connsiteY1" fmla="*/ 8480 h 330173"/>
                <a:gd name="connsiteX2" fmla="*/ 179419 w 222924"/>
                <a:gd name="connsiteY2" fmla="*/ 4275 h 330173"/>
                <a:gd name="connsiteX3" fmla="*/ 0 w 222924"/>
                <a:gd name="connsiteY3" fmla="*/ 111856 h 330173"/>
                <a:gd name="connsiteX4" fmla="*/ 0 w 222924"/>
                <a:gd name="connsiteY4" fmla="*/ 290575 h 330173"/>
                <a:gd name="connsiteX5" fmla="*/ 99171 w 222924"/>
                <a:gd name="connsiteY5" fmla="*/ 330173 h 330173"/>
                <a:gd name="connsiteX6" fmla="*/ 99171 w 222924"/>
                <a:gd name="connsiteY6" fmla="*/ 290575 h 330173"/>
                <a:gd name="connsiteX7" fmla="*/ 99171 w 222924"/>
                <a:gd name="connsiteY7" fmla="*/ 131480 h 330173"/>
                <a:gd name="connsiteX8" fmla="*/ 210958 w 222924"/>
                <a:gd name="connsiteY8" fmla="*/ 51933 h 330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2924" h="330173">
                  <a:moveTo>
                    <a:pt x="210958" y="51933"/>
                  </a:moveTo>
                  <a:cubicBezTo>
                    <a:pt x="225325" y="41771"/>
                    <a:pt x="227078" y="20745"/>
                    <a:pt x="214462" y="8480"/>
                  </a:cubicBezTo>
                  <a:cubicBezTo>
                    <a:pt x="205001" y="-981"/>
                    <a:pt x="190633" y="-2734"/>
                    <a:pt x="179419" y="4275"/>
                  </a:cubicBezTo>
                  <a:lnTo>
                    <a:pt x="0" y="111856"/>
                  </a:lnTo>
                  <a:lnTo>
                    <a:pt x="0" y="290575"/>
                  </a:lnTo>
                  <a:lnTo>
                    <a:pt x="99171" y="330173"/>
                  </a:lnTo>
                  <a:lnTo>
                    <a:pt x="99171" y="290575"/>
                  </a:lnTo>
                  <a:lnTo>
                    <a:pt x="99171" y="131480"/>
                  </a:lnTo>
                  <a:lnTo>
                    <a:pt x="210958" y="51933"/>
                  </a:lnTo>
                  <a:close/>
                </a:path>
              </a:pathLst>
            </a:custGeom>
            <a:grpFill/>
            <a:ln w="34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5" name="Ellipse 64">
            <a:extLst>
              <a:ext uri="{FF2B5EF4-FFF2-40B4-BE49-F238E27FC236}">
                <a16:creationId xmlns:a16="http://schemas.microsoft.com/office/drawing/2014/main" id="{FE36FF5C-D59F-4641-A235-05CCA93E8D98}"/>
              </a:ext>
            </a:extLst>
          </p:cNvPr>
          <p:cNvSpPr>
            <a:spLocks/>
          </p:cNvSpPr>
          <p:nvPr/>
        </p:nvSpPr>
        <p:spPr bwMode="auto">
          <a:xfrm>
            <a:off x="8746058" y="3010513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8F464929-EFB9-4058-84A9-408FD300585A}"/>
              </a:ext>
            </a:extLst>
          </p:cNvPr>
          <p:cNvSpPr>
            <a:spLocks/>
          </p:cNvSpPr>
          <p:nvPr/>
        </p:nvSpPr>
        <p:spPr bwMode="auto">
          <a:xfrm>
            <a:off x="8706478" y="2970933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3B90FFD5-E7E1-4BE3-A7A8-600BC2C3D92A}"/>
              </a:ext>
            </a:extLst>
          </p:cNvPr>
          <p:cNvSpPr txBox="1">
            <a:spLocks/>
          </p:cNvSpPr>
          <p:nvPr/>
        </p:nvSpPr>
        <p:spPr bwMode="gray">
          <a:xfrm>
            <a:off x="8348241" y="3865119"/>
            <a:ext cx="1515994" cy="86177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spc="-10" dirty="0">
                <a:solidFill>
                  <a:srgbClr val="000000"/>
                </a:solidFill>
                <a:latin typeface="Arial"/>
              </a:rPr>
              <a:t>Мобильные решения для технического обслуживания</a:t>
            </a:r>
            <a:endParaRPr kumimoji="0" lang="en-GB" sz="14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3280B845-48C3-4FC3-A48E-E4EF4AB6D05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329085" y="4977982"/>
            <a:ext cx="377077" cy="370061"/>
          </a:xfrm>
          <a:prstGeom prst="rect">
            <a:avLst/>
          </a:prstGeom>
        </p:spPr>
      </p:pic>
      <p:sp>
        <p:nvSpPr>
          <p:cNvPr id="74" name="Ellipse 73">
            <a:extLst>
              <a:ext uri="{FF2B5EF4-FFF2-40B4-BE49-F238E27FC236}">
                <a16:creationId xmlns:a16="http://schemas.microsoft.com/office/drawing/2014/main" id="{02FAADEC-95B9-471E-A9E3-A4C900BFD4D0}"/>
              </a:ext>
            </a:extLst>
          </p:cNvPr>
          <p:cNvSpPr>
            <a:spLocks/>
          </p:cNvSpPr>
          <p:nvPr/>
        </p:nvSpPr>
        <p:spPr bwMode="auto">
          <a:xfrm>
            <a:off x="10157444" y="4802833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5FE6C195-6C0C-46BC-9B95-F658299B39ED}"/>
              </a:ext>
            </a:extLst>
          </p:cNvPr>
          <p:cNvSpPr>
            <a:spLocks/>
          </p:cNvSpPr>
          <p:nvPr/>
        </p:nvSpPr>
        <p:spPr bwMode="auto">
          <a:xfrm>
            <a:off x="10117864" y="4763253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D12A868B-0503-4E9E-ADB0-7FFB41D93D2E}"/>
              </a:ext>
            </a:extLst>
          </p:cNvPr>
          <p:cNvSpPr txBox="1">
            <a:spLocks/>
          </p:cNvSpPr>
          <p:nvPr/>
        </p:nvSpPr>
        <p:spPr bwMode="gray">
          <a:xfrm>
            <a:off x="9821314" y="2764469"/>
            <a:ext cx="1610432" cy="64633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лобальная сеть проектов и обмена опытом</a:t>
            </a:r>
            <a:endParaRPr kumimoji="0" lang="en-GB" sz="1400" b="0" i="0" u="none" strike="noStrike" kern="1200" cap="none" spc="-2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E81419B-A750-4729-8901-18A29FE94995}"/>
              </a:ext>
            </a:extLst>
          </p:cNvPr>
          <p:cNvGrpSpPr>
            <a:grpSpLocks/>
          </p:cNvGrpSpPr>
          <p:nvPr/>
        </p:nvGrpSpPr>
        <p:grpSpPr>
          <a:xfrm>
            <a:off x="7528068" y="4216915"/>
            <a:ext cx="799520" cy="799520"/>
            <a:chOff x="7459488" y="4383100"/>
            <a:chExt cx="799520" cy="799520"/>
          </a:xfrm>
        </p:grpSpPr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DB7395E1-D366-4AFA-A5DD-442B6820FF1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7663885" y="4627025"/>
              <a:ext cx="390727" cy="311670"/>
              <a:chOff x="7958704" y="150852"/>
              <a:chExt cx="794761" cy="633955"/>
            </a:xfrm>
            <a:solidFill>
              <a:schemeClr val="accent4"/>
            </a:solidFill>
          </p:grpSpPr>
          <p:grpSp>
            <p:nvGrpSpPr>
              <p:cNvPr id="82" name="Gruppieren 81">
                <a:extLst>
                  <a:ext uri="{FF2B5EF4-FFF2-40B4-BE49-F238E27FC236}">
                    <a16:creationId xmlns:a16="http://schemas.microsoft.com/office/drawing/2014/main" id="{46E2778B-2E62-4A1C-96D8-54A822585990}"/>
                  </a:ext>
                </a:extLst>
              </p:cNvPr>
              <p:cNvGrpSpPr/>
              <p:nvPr/>
            </p:nvGrpSpPr>
            <p:grpSpPr bwMode="gray">
              <a:xfrm>
                <a:off x="7958704" y="150852"/>
                <a:ext cx="794761" cy="633955"/>
                <a:chOff x="7958704" y="150852"/>
                <a:chExt cx="794761" cy="633955"/>
              </a:xfrm>
              <a:grpFill/>
            </p:grpSpPr>
            <p:sp>
              <p:nvSpPr>
                <p:cNvPr id="85" name="Freihandform: Form 84">
                  <a:extLst>
                    <a:ext uri="{FF2B5EF4-FFF2-40B4-BE49-F238E27FC236}">
                      <a16:creationId xmlns:a16="http://schemas.microsoft.com/office/drawing/2014/main" id="{93CC075B-CFEA-4A0F-B755-0B48603C9D44}"/>
                    </a:ext>
                  </a:extLst>
                </p:cNvPr>
                <p:cNvSpPr/>
                <p:nvPr/>
              </p:nvSpPr>
              <p:spPr bwMode="gray">
                <a:xfrm>
                  <a:off x="7958704" y="150852"/>
                  <a:ext cx="693324" cy="557881"/>
                </a:xfrm>
                <a:custGeom>
                  <a:avLst/>
                  <a:gdLst>
                    <a:gd name="connsiteX0" fmla="*/ 406030 w 693324"/>
                    <a:gd name="connsiteY0" fmla="*/ 456747 h 557881"/>
                    <a:gd name="connsiteX1" fmla="*/ 490458 w 693324"/>
                    <a:gd name="connsiteY1" fmla="*/ 456747 h 557881"/>
                    <a:gd name="connsiteX2" fmla="*/ 490458 w 693324"/>
                    <a:gd name="connsiteY2" fmla="*/ 423035 h 557881"/>
                    <a:gd name="connsiteX3" fmla="*/ 33712 w 693324"/>
                    <a:gd name="connsiteY3" fmla="*/ 423035 h 557881"/>
                    <a:gd name="connsiteX4" fmla="*/ 33712 w 693324"/>
                    <a:gd name="connsiteY4" fmla="*/ 33712 h 557881"/>
                    <a:gd name="connsiteX5" fmla="*/ 659613 w 693324"/>
                    <a:gd name="connsiteY5" fmla="*/ 33712 h 557881"/>
                    <a:gd name="connsiteX6" fmla="*/ 659613 w 693324"/>
                    <a:gd name="connsiteY6" fmla="*/ 152150 h 557881"/>
                    <a:gd name="connsiteX7" fmla="*/ 693324 w 693324"/>
                    <a:gd name="connsiteY7" fmla="*/ 152150 h 557881"/>
                    <a:gd name="connsiteX8" fmla="*/ 693324 w 693324"/>
                    <a:gd name="connsiteY8" fmla="*/ 33712 h 557881"/>
                    <a:gd name="connsiteX9" fmla="*/ 659314 w 693324"/>
                    <a:gd name="connsiteY9" fmla="*/ 0 h 557881"/>
                    <a:gd name="connsiteX10" fmla="*/ 34010 w 693324"/>
                    <a:gd name="connsiteY10" fmla="*/ 0 h 557881"/>
                    <a:gd name="connsiteX11" fmla="*/ 0 w 693324"/>
                    <a:gd name="connsiteY11" fmla="*/ 33712 h 557881"/>
                    <a:gd name="connsiteX12" fmla="*/ 0 w 693324"/>
                    <a:gd name="connsiteY12" fmla="*/ 422737 h 557881"/>
                    <a:gd name="connsiteX13" fmla="*/ 34010 w 693324"/>
                    <a:gd name="connsiteY13" fmla="*/ 456449 h 557881"/>
                    <a:gd name="connsiteX14" fmla="*/ 287592 w 693324"/>
                    <a:gd name="connsiteY14" fmla="*/ 456449 h 557881"/>
                    <a:gd name="connsiteX15" fmla="*/ 287592 w 693324"/>
                    <a:gd name="connsiteY15" fmla="*/ 524170 h 557881"/>
                    <a:gd name="connsiteX16" fmla="*/ 202866 w 693324"/>
                    <a:gd name="connsiteY16" fmla="*/ 524170 h 557881"/>
                    <a:gd name="connsiteX17" fmla="*/ 202866 w 693324"/>
                    <a:gd name="connsiteY17" fmla="*/ 557882 h 557881"/>
                    <a:gd name="connsiteX18" fmla="*/ 490458 w 693324"/>
                    <a:gd name="connsiteY18" fmla="*/ 557882 h 557881"/>
                    <a:gd name="connsiteX19" fmla="*/ 490458 w 693324"/>
                    <a:gd name="connsiteY19" fmla="*/ 524170 h 557881"/>
                    <a:gd name="connsiteX20" fmla="*/ 405732 w 693324"/>
                    <a:gd name="connsiteY20" fmla="*/ 524170 h 557881"/>
                    <a:gd name="connsiteX21" fmla="*/ 405732 w 693324"/>
                    <a:gd name="connsiteY21" fmla="*/ 456747 h 557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693324" h="557881">
                      <a:moveTo>
                        <a:pt x="406030" y="456747"/>
                      </a:moveTo>
                      <a:lnTo>
                        <a:pt x="490458" y="456747"/>
                      </a:lnTo>
                      <a:lnTo>
                        <a:pt x="490458" y="423035"/>
                      </a:lnTo>
                      <a:lnTo>
                        <a:pt x="33712" y="423035"/>
                      </a:lnTo>
                      <a:lnTo>
                        <a:pt x="33712" y="33712"/>
                      </a:lnTo>
                      <a:lnTo>
                        <a:pt x="659613" y="33712"/>
                      </a:lnTo>
                      <a:lnTo>
                        <a:pt x="659613" y="152150"/>
                      </a:lnTo>
                      <a:lnTo>
                        <a:pt x="693324" y="152150"/>
                      </a:lnTo>
                      <a:lnTo>
                        <a:pt x="693324" y="33712"/>
                      </a:lnTo>
                      <a:cubicBezTo>
                        <a:pt x="693324" y="14917"/>
                        <a:pt x="678109" y="0"/>
                        <a:pt x="659314" y="0"/>
                      </a:cubicBezTo>
                      <a:lnTo>
                        <a:pt x="34010" y="0"/>
                      </a:lnTo>
                      <a:cubicBezTo>
                        <a:pt x="15215" y="0"/>
                        <a:pt x="0" y="15215"/>
                        <a:pt x="0" y="33712"/>
                      </a:cubicBezTo>
                      <a:lnTo>
                        <a:pt x="0" y="422737"/>
                      </a:lnTo>
                      <a:cubicBezTo>
                        <a:pt x="0" y="441532"/>
                        <a:pt x="15215" y="456449"/>
                        <a:pt x="34010" y="456449"/>
                      </a:cubicBezTo>
                      <a:lnTo>
                        <a:pt x="287592" y="456449"/>
                      </a:lnTo>
                      <a:lnTo>
                        <a:pt x="287592" y="524170"/>
                      </a:lnTo>
                      <a:lnTo>
                        <a:pt x="202866" y="524170"/>
                      </a:lnTo>
                      <a:lnTo>
                        <a:pt x="202866" y="557882"/>
                      </a:lnTo>
                      <a:lnTo>
                        <a:pt x="490458" y="557882"/>
                      </a:lnTo>
                      <a:lnTo>
                        <a:pt x="490458" y="524170"/>
                      </a:lnTo>
                      <a:lnTo>
                        <a:pt x="405732" y="524170"/>
                      </a:lnTo>
                      <a:lnTo>
                        <a:pt x="405732" y="456747"/>
                      </a:lnTo>
                      <a:close/>
                    </a:path>
                  </a:pathLst>
                </a:custGeom>
                <a:grpFill/>
                <a:ln w="29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ihandform: Form 85">
                  <a:extLst>
                    <a:ext uri="{FF2B5EF4-FFF2-40B4-BE49-F238E27FC236}">
                      <a16:creationId xmlns:a16="http://schemas.microsoft.com/office/drawing/2014/main" id="{C66CF991-13C5-4099-BCEF-09C0C7A00F7A}"/>
                    </a:ext>
                  </a:extLst>
                </p:cNvPr>
                <p:cNvSpPr/>
                <p:nvPr/>
              </p:nvSpPr>
              <p:spPr bwMode="gray">
                <a:xfrm>
                  <a:off x="8483172" y="345364"/>
                  <a:ext cx="270293" cy="439443"/>
                </a:xfrm>
                <a:custGeom>
                  <a:avLst/>
                  <a:gdLst>
                    <a:gd name="connsiteX0" fmla="*/ 236577 w 270293"/>
                    <a:gd name="connsiteY0" fmla="*/ 0 h 439443"/>
                    <a:gd name="connsiteX1" fmla="*/ 185861 w 270293"/>
                    <a:gd name="connsiteY1" fmla="*/ 0 h 439443"/>
                    <a:gd name="connsiteX2" fmla="*/ 118140 w 270293"/>
                    <a:gd name="connsiteY2" fmla="*/ 0 h 439443"/>
                    <a:gd name="connsiteX3" fmla="*/ 33712 w 270293"/>
                    <a:gd name="connsiteY3" fmla="*/ 0 h 439443"/>
                    <a:gd name="connsiteX4" fmla="*/ 0 w 270293"/>
                    <a:gd name="connsiteY4" fmla="*/ 33712 h 439443"/>
                    <a:gd name="connsiteX5" fmla="*/ 0 w 270293"/>
                    <a:gd name="connsiteY5" fmla="*/ 287294 h 439443"/>
                    <a:gd name="connsiteX6" fmla="*/ 0 w 270293"/>
                    <a:gd name="connsiteY6" fmla="*/ 355016 h 439443"/>
                    <a:gd name="connsiteX7" fmla="*/ 0 w 270293"/>
                    <a:gd name="connsiteY7" fmla="*/ 405732 h 439443"/>
                    <a:gd name="connsiteX8" fmla="*/ 33712 w 270293"/>
                    <a:gd name="connsiteY8" fmla="*/ 439444 h 439443"/>
                    <a:gd name="connsiteX9" fmla="*/ 236577 w 270293"/>
                    <a:gd name="connsiteY9" fmla="*/ 439444 h 439443"/>
                    <a:gd name="connsiteX10" fmla="*/ 270289 w 270293"/>
                    <a:gd name="connsiteY10" fmla="*/ 405732 h 439443"/>
                    <a:gd name="connsiteX11" fmla="*/ 270289 w 270293"/>
                    <a:gd name="connsiteY11" fmla="*/ 33712 h 439443"/>
                    <a:gd name="connsiteX12" fmla="*/ 236577 w 270293"/>
                    <a:gd name="connsiteY12" fmla="*/ 0 h 439443"/>
                    <a:gd name="connsiteX13" fmla="*/ 236577 w 270293"/>
                    <a:gd name="connsiteY13" fmla="*/ 389025 h 439443"/>
                    <a:gd name="connsiteX14" fmla="*/ 33712 w 270293"/>
                    <a:gd name="connsiteY14" fmla="*/ 389025 h 439443"/>
                    <a:gd name="connsiteX15" fmla="*/ 33712 w 270293"/>
                    <a:gd name="connsiteY15" fmla="*/ 50717 h 439443"/>
                    <a:gd name="connsiteX16" fmla="*/ 236577 w 270293"/>
                    <a:gd name="connsiteY16" fmla="*/ 50717 h 439443"/>
                    <a:gd name="connsiteX17" fmla="*/ 236577 w 270293"/>
                    <a:gd name="connsiteY17" fmla="*/ 389025 h 4394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0293" h="439443">
                      <a:moveTo>
                        <a:pt x="236577" y="0"/>
                      </a:moveTo>
                      <a:lnTo>
                        <a:pt x="185861" y="0"/>
                      </a:lnTo>
                      <a:lnTo>
                        <a:pt x="118140" y="0"/>
                      </a:lnTo>
                      <a:lnTo>
                        <a:pt x="33712" y="0"/>
                      </a:lnTo>
                      <a:cubicBezTo>
                        <a:pt x="14917" y="0"/>
                        <a:pt x="0" y="15215"/>
                        <a:pt x="0" y="33712"/>
                      </a:cubicBezTo>
                      <a:lnTo>
                        <a:pt x="0" y="287294"/>
                      </a:lnTo>
                      <a:lnTo>
                        <a:pt x="0" y="355016"/>
                      </a:lnTo>
                      <a:lnTo>
                        <a:pt x="0" y="405732"/>
                      </a:lnTo>
                      <a:cubicBezTo>
                        <a:pt x="0" y="424527"/>
                        <a:pt x="15215" y="439444"/>
                        <a:pt x="33712" y="439444"/>
                      </a:cubicBezTo>
                      <a:lnTo>
                        <a:pt x="236577" y="439444"/>
                      </a:lnTo>
                      <a:cubicBezTo>
                        <a:pt x="255372" y="439444"/>
                        <a:pt x="270289" y="424229"/>
                        <a:pt x="270289" y="405732"/>
                      </a:cubicBezTo>
                      <a:lnTo>
                        <a:pt x="270289" y="33712"/>
                      </a:lnTo>
                      <a:cubicBezTo>
                        <a:pt x="270587" y="15215"/>
                        <a:pt x="255372" y="0"/>
                        <a:pt x="236577" y="0"/>
                      </a:cubicBezTo>
                      <a:close/>
                      <a:moveTo>
                        <a:pt x="236577" y="389025"/>
                      </a:moveTo>
                      <a:lnTo>
                        <a:pt x="33712" y="389025"/>
                      </a:lnTo>
                      <a:lnTo>
                        <a:pt x="33712" y="50717"/>
                      </a:lnTo>
                      <a:lnTo>
                        <a:pt x="236577" y="50717"/>
                      </a:lnTo>
                      <a:lnTo>
                        <a:pt x="236577" y="389025"/>
                      </a:lnTo>
                      <a:close/>
                    </a:path>
                  </a:pathLst>
                </a:custGeom>
                <a:grpFill/>
                <a:ln w="296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650EBFDD-C58B-4941-82FF-FC20733ECCE0}"/>
                  </a:ext>
                </a:extLst>
              </p:cNvPr>
              <p:cNvSpPr/>
              <p:nvPr/>
            </p:nvSpPr>
            <p:spPr bwMode="gray">
              <a:xfrm>
                <a:off x="8552683" y="513325"/>
                <a:ext cx="131266" cy="103819"/>
              </a:xfrm>
              <a:custGeom>
                <a:avLst/>
                <a:gdLst>
                  <a:gd name="connsiteX0" fmla="*/ 46241 w 131266"/>
                  <a:gd name="connsiteY0" fmla="*/ 103820 h 103819"/>
                  <a:gd name="connsiteX1" fmla="*/ 0 w 131266"/>
                  <a:gd name="connsiteY1" fmla="*/ 55490 h 103819"/>
                  <a:gd name="connsiteX2" fmla="*/ 13425 w 131266"/>
                  <a:gd name="connsiteY2" fmla="*/ 40872 h 103819"/>
                  <a:gd name="connsiteX3" fmla="*/ 43258 w 131266"/>
                  <a:gd name="connsiteY3" fmla="*/ 68020 h 103819"/>
                  <a:gd name="connsiteX4" fmla="*/ 117841 w 131266"/>
                  <a:gd name="connsiteY4" fmla="*/ 0 h 103819"/>
                  <a:gd name="connsiteX5" fmla="*/ 131266 w 131266"/>
                  <a:gd name="connsiteY5" fmla="*/ 14022 h 103819"/>
                  <a:gd name="connsiteX6" fmla="*/ 46241 w 131266"/>
                  <a:gd name="connsiteY6" fmla="*/ 103820 h 103819"/>
                  <a:gd name="connsiteX7" fmla="*/ 46241 w 131266"/>
                  <a:gd name="connsiteY7" fmla="*/ 103820 h 103819"/>
                  <a:gd name="connsiteX8" fmla="*/ 46241 w 131266"/>
                  <a:gd name="connsiteY8" fmla="*/ 103820 h 103819"/>
                  <a:gd name="connsiteX9" fmla="*/ 46241 w 131266"/>
                  <a:gd name="connsiteY9" fmla="*/ 103820 h 103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1266" h="103819">
                    <a:moveTo>
                      <a:pt x="46241" y="103820"/>
                    </a:moveTo>
                    <a:lnTo>
                      <a:pt x="0" y="55490"/>
                    </a:lnTo>
                    <a:lnTo>
                      <a:pt x="13425" y="40872"/>
                    </a:lnTo>
                    <a:lnTo>
                      <a:pt x="43258" y="68020"/>
                    </a:lnTo>
                    <a:lnTo>
                      <a:pt x="117841" y="0"/>
                    </a:lnTo>
                    <a:lnTo>
                      <a:pt x="131266" y="14022"/>
                    </a:lnTo>
                    <a:lnTo>
                      <a:pt x="46241" y="103820"/>
                    </a:lnTo>
                    <a:lnTo>
                      <a:pt x="46241" y="103820"/>
                    </a:lnTo>
                    <a:lnTo>
                      <a:pt x="46241" y="103820"/>
                    </a:lnTo>
                    <a:lnTo>
                      <a:pt x="46241" y="103820"/>
                    </a:lnTo>
                    <a:close/>
                  </a:path>
                </a:pathLst>
              </a:custGeom>
              <a:grpFill/>
              <a:ln w="2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B119901A-18CC-4E14-B0CE-B9E02A6337BC}"/>
                  </a:ext>
                </a:extLst>
              </p:cNvPr>
              <p:cNvSpPr/>
              <p:nvPr/>
            </p:nvSpPr>
            <p:spPr bwMode="gray">
              <a:xfrm>
                <a:off x="8197071" y="293753"/>
                <a:ext cx="216887" cy="170944"/>
              </a:xfrm>
              <a:custGeom>
                <a:avLst/>
                <a:gdLst>
                  <a:gd name="connsiteX0" fmla="*/ 76373 w 216887"/>
                  <a:gd name="connsiteY0" fmla="*/ 170944 h 170944"/>
                  <a:gd name="connsiteX1" fmla="*/ 0 w 216887"/>
                  <a:gd name="connsiteY1" fmla="*/ 91290 h 170944"/>
                  <a:gd name="connsiteX2" fmla="*/ 22375 w 216887"/>
                  <a:gd name="connsiteY2" fmla="*/ 67423 h 170944"/>
                  <a:gd name="connsiteX3" fmla="*/ 71600 w 216887"/>
                  <a:gd name="connsiteY3" fmla="*/ 111875 h 170944"/>
                  <a:gd name="connsiteX4" fmla="*/ 194214 w 216887"/>
                  <a:gd name="connsiteY4" fmla="*/ 0 h 170944"/>
                  <a:gd name="connsiteX5" fmla="*/ 216888 w 216887"/>
                  <a:gd name="connsiteY5" fmla="*/ 22972 h 170944"/>
                  <a:gd name="connsiteX6" fmla="*/ 76373 w 216887"/>
                  <a:gd name="connsiteY6" fmla="*/ 170944 h 170944"/>
                  <a:gd name="connsiteX7" fmla="*/ 76373 w 216887"/>
                  <a:gd name="connsiteY7" fmla="*/ 170944 h 170944"/>
                  <a:gd name="connsiteX8" fmla="*/ 76373 w 216887"/>
                  <a:gd name="connsiteY8" fmla="*/ 170944 h 170944"/>
                  <a:gd name="connsiteX9" fmla="*/ 76373 w 216887"/>
                  <a:gd name="connsiteY9" fmla="*/ 170944 h 170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6887" h="170944">
                    <a:moveTo>
                      <a:pt x="76373" y="170944"/>
                    </a:moveTo>
                    <a:lnTo>
                      <a:pt x="0" y="91290"/>
                    </a:lnTo>
                    <a:lnTo>
                      <a:pt x="22375" y="67423"/>
                    </a:lnTo>
                    <a:lnTo>
                      <a:pt x="71600" y="111875"/>
                    </a:lnTo>
                    <a:lnTo>
                      <a:pt x="194214" y="0"/>
                    </a:lnTo>
                    <a:lnTo>
                      <a:pt x="216888" y="22972"/>
                    </a:lnTo>
                    <a:lnTo>
                      <a:pt x="76373" y="170944"/>
                    </a:lnTo>
                    <a:lnTo>
                      <a:pt x="76373" y="170944"/>
                    </a:lnTo>
                    <a:lnTo>
                      <a:pt x="76373" y="170944"/>
                    </a:lnTo>
                    <a:lnTo>
                      <a:pt x="76373" y="170944"/>
                    </a:lnTo>
                    <a:close/>
                  </a:path>
                </a:pathLst>
              </a:custGeom>
              <a:grpFill/>
              <a:ln w="296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1CEAD013-142C-4046-B6D0-02BA32C7E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9068" y="4422680"/>
              <a:ext cx="720360" cy="720360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7926EC5D-8BE9-4ECC-B0B2-D8F8187B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9488" y="4383100"/>
              <a:ext cx="799520" cy="799520"/>
            </a:xfrm>
            <a:prstGeom prst="ellipse">
              <a:avLst/>
            </a:prstGeom>
            <a:noFill/>
            <a:ln w="12700" cap="rnd">
              <a:solidFill>
                <a:srgbClr val="CCCCD4"/>
              </a:solidFill>
              <a:prstDash val="sysDot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87" name="Textfeld 86">
            <a:extLst>
              <a:ext uri="{FF2B5EF4-FFF2-40B4-BE49-F238E27FC236}">
                <a16:creationId xmlns:a16="http://schemas.microsoft.com/office/drawing/2014/main" id="{181F8CDB-B26C-427D-87DA-397BA77C8F5F}"/>
              </a:ext>
            </a:extLst>
          </p:cNvPr>
          <p:cNvSpPr txBox="1">
            <a:spLocks/>
          </p:cNvSpPr>
          <p:nvPr/>
        </p:nvSpPr>
        <p:spPr bwMode="gray">
          <a:xfrm>
            <a:off x="7141016" y="5089453"/>
            <a:ext cx="1573624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езбумажные технологии </a:t>
            </a:r>
            <a:endParaRPr kumimoji="0" lang="en-GB" sz="14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Ellipse 90">
            <a:extLst>
              <a:ext uri="{FF2B5EF4-FFF2-40B4-BE49-F238E27FC236}">
                <a16:creationId xmlns:a16="http://schemas.microsoft.com/office/drawing/2014/main" id="{3222A376-9D26-4E3B-903B-4DC044D7DAB3}"/>
              </a:ext>
            </a:extLst>
          </p:cNvPr>
          <p:cNvSpPr>
            <a:spLocks/>
          </p:cNvSpPr>
          <p:nvPr/>
        </p:nvSpPr>
        <p:spPr bwMode="auto">
          <a:xfrm>
            <a:off x="1946038" y="1467141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2" name="Ellipse 91">
            <a:extLst>
              <a:ext uri="{FF2B5EF4-FFF2-40B4-BE49-F238E27FC236}">
                <a16:creationId xmlns:a16="http://schemas.microsoft.com/office/drawing/2014/main" id="{878E415F-8F2D-4A45-8A71-3425188F2AD9}"/>
              </a:ext>
            </a:extLst>
          </p:cNvPr>
          <p:cNvSpPr>
            <a:spLocks/>
          </p:cNvSpPr>
          <p:nvPr/>
        </p:nvSpPr>
        <p:spPr bwMode="auto">
          <a:xfrm>
            <a:off x="1906458" y="1427561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90" name="Grafik 89">
            <a:extLst>
              <a:ext uri="{FF2B5EF4-FFF2-40B4-BE49-F238E27FC236}">
                <a16:creationId xmlns:a16="http://schemas.microsoft.com/office/drawing/2014/main" id="{E1331E79-0CDA-415A-A18F-DB064883C068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98530" y="1582841"/>
            <a:ext cx="215376" cy="488961"/>
          </a:xfrm>
          <a:prstGeom prst="rect">
            <a:avLst/>
          </a:prstGeom>
        </p:spPr>
      </p:pic>
      <p:sp>
        <p:nvSpPr>
          <p:cNvPr id="93" name="Textfeld 92">
            <a:extLst>
              <a:ext uri="{FF2B5EF4-FFF2-40B4-BE49-F238E27FC236}">
                <a16:creationId xmlns:a16="http://schemas.microsoft.com/office/drawing/2014/main" id="{227A51ED-0058-4BA2-9768-5C92135F883F}"/>
              </a:ext>
            </a:extLst>
          </p:cNvPr>
          <p:cNvSpPr txBox="1">
            <a:spLocks/>
          </p:cNvSpPr>
          <p:nvPr/>
        </p:nvSpPr>
        <p:spPr bwMode="gray">
          <a:xfrm>
            <a:off x="3072158" y="2907409"/>
            <a:ext cx="1515994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ниторинг и анализ данных</a:t>
            </a:r>
            <a:r>
              <a:rPr kumimoji="0" lang="en-GB" sz="14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E5C388B2-4009-48B2-8AA4-4276E75B25E5}"/>
              </a:ext>
            </a:extLst>
          </p:cNvPr>
          <p:cNvSpPr txBox="1">
            <a:spLocks/>
          </p:cNvSpPr>
          <p:nvPr/>
        </p:nvSpPr>
        <p:spPr bwMode="gray">
          <a:xfrm>
            <a:off x="245382" y="3453455"/>
            <a:ext cx="1515994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spc="-10" dirty="0">
                <a:solidFill>
                  <a:srgbClr val="000000"/>
                </a:solidFill>
                <a:latin typeface="Arial"/>
              </a:rPr>
              <a:t>Удаленное подключение</a:t>
            </a:r>
            <a:endParaRPr kumimoji="0" lang="en-GB" sz="14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95450DF4-6A8C-44F6-ADF4-68268F4A06B7}"/>
              </a:ext>
            </a:extLst>
          </p:cNvPr>
          <p:cNvGrpSpPr>
            <a:grpSpLocks/>
          </p:cNvGrpSpPr>
          <p:nvPr/>
        </p:nvGrpSpPr>
        <p:grpSpPr bwMode="gray">
          <a:xfrm>
            <a:off x="779092" y="2849703"/>
            <a:ext cx="448573" cy="285246"/>
            <a:chOff x="9181556" y="1684793"/>
            <a:chExt cx="841247" cy="534949"/>
          </a:xfrm>
          <a:solidFill>
            <a:schemeClr val="accent4"/>
          </a:solidFill>
        </p:grpSpPr>
        <p:sp>
          <p:nvSpPr>
            <p:cNvPr id="102" name="SAGD, Siemens, Cloud, Wolke">
              <a:extLst>
                <a:ext uri="{FF2B5EF4-FFF2-40B4-BE49-F238E27FC236}">
                  <a16:creationId xmlns:a16="http://schemas.microsoft.com/office/drawing/2014/main" id="{CB321A51-9C84-45D2-A34F-6D7E7EE8E5A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181556" y="1684793"/>
              <a:ext cx="841247" cy="534949"/>
            </a:xfrm>
            <a:custGeom>
              <a:avLst/>
              <a:gdLst>
                <a:gd name="T0" fmla="*/ 1536 w 1961"/>
                <a:gd name="T1" fmla="*/ 1246 h 1246"/>
                <a:gd name="T2" fmla="*/ 327 w 1961"/>
                <a:gd name="T3" fmla="*/ 1246 h 1246"/>
                <a:gd name="T4" fmla="*/ 311 w 1961"/>
                <a:gd name="T5" fmla="*/ 1246 h 1246"/>
                <a:gd name="T6" fmla="*/ 0 w 1961"/>
                <a:gd name="T7" fmla="*/ 918 h 1246"/>
                <a:gd name="T8" fmla="*/ 309 w 1961"/>
                <a:gd name="T9" fmla="*/ 591 h 1246"/>
                <a:gd name="T10" fmla="*/ 294 w 1961"/>
                <a:gd name="T11" fmla="*/ 492 h 1246"/>
                <a:gd name="T12" fmla="*/ 621 w 1961"/>
                <a:gd name="T13" fmla="*/ 164 h 1246"/>
                <a:gd name="T14" fmla="*/ 795 w 1961"/>
                <a:gd name="T15" fmla="*/ 214 h 1246"/>
                <a:gd name="T16" fmla="*/ 1144 w 1961"/>
                <a:gd name="T17" fmla="*/ 0 h 1246"/>
                <a:gd name="T18" fmla="*/ 1536 w 1961"/>
                <a:gd name="T19" fmla="*/ 393 h 1246"/>
                <a:gd name="T20" fmla="*/ 1961 w 1961"/>
                <a:gd name="T21" fmla="*/ 820 h 1246"/>
                <a:gd name="T22" fmla="*/ 1536 w 1961"/>
                <a:gd name="T23" fmla="*/ 1246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1" h="1246">
                  <a:moveTo>
                    <a:pt x="1536" y="1246"/>
                  </a:moveTo>
                  <a:cubicBezTo>
                    <a:pt x="327" y="1246"/>
                    <a:pt x="327" y="1246"/>
                    <a:pt x="327" y="1246"/>
                  </a:cubicBezTo>
                  <a:cubicBezTo>
                    <a:pt x="311" y="1246"/>
                    <a:pt x="311" y="1246"/>
                    <a:pt x="311" y="1246"/>
                  </a:cubicBezTo>
                  <a:cubicBezTo>
                    <a:pt x="137" y="1237"/>
                    <a:pt x="0" y="1093"/>
                    <a:pt x="0" y="918"/>
                  </a:cubicBezTo>
                  <a:cubicBezTo>
                    <a:pt x="0" y="743"/>
                    <a:pt x="137" y="600"/>
                    <a:pt x="309" y="591"/>
                  </a:cubicBezTo>
                  <a:cubicBezTo>
                    <a:pt x="299" y="560"/>
                    <a:pt x="294" y="526"/>
                    <a:pt x="294" y="492"/>
                  </a:cubicBezTo>
                  <a:cubicBezTo>
                    <a:pt x="294" y="310"/>
                    <a:pt x="440" y="164"/>
                    <a:pt x="621" y="164"/>
                  </a:cubicBezTo>
                  <a:cubicBezTo>
                    <a:pt x="685" y="164"/>
                    <a:pt x="744" y="182"/>
                    <a:pt x="795" y="214"/>
                  </a:cubicBezTo>
                  <a:cubicBezTo>
                    <a:pt x="860" y="87"/>
                    <a:pt x="992" y="0"/>
                    <a:pt x="1144" y="0"/>
                  </a:cubicBezTo>
                  <a:cubicBezTo>
                    <a:pt x="1360" y="0"/>
                    <a:pt x="1536" y="176"/>
                    <a:pt x="1536" y="393"/>
                  </a:cubicBezTo>
                  <a:cubicBezTo>
                    <a:pt x="1771" y="393"/>
                    <a:pt x="1961" y="584"/>
                    <a:pt x="1961" y="820"/>
                  </a:cubicBezTo>
                  <a:cubicBezTo>
                    <a:pt x="1961" y="1055"/>
                    <a:pt x="1771" y="1246"/>
                    <a:pt x="1536" y="12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1200" cap="none" spc="0" normalizeH="0" baseline="0" noProof="0" dirty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9">
              <a:extLst>
                <a:ext uri="{FF2B5EF4-FFF2-40B4-BE49-F238E27FC236}">
                  <a16:creationId xmlns:a16="http://schemas.microsoft.com/office/drawing/2014/main" id="{661EE58D-CF6A-46EF-A67D-003D8E3A37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517186" y="1844786"/>
              <a:ext cx="222248" cy="282348"/>
            </a:xfrm>
            <a:custGeom>
              <a:avLst/>
              <a:gdLst>
                <a:gd name="T0" fmla="*/ 227 w 250"/>
                <a:gd name="T1" fmla="*/ 136 h 318"/>
                <a:gd name="T2" fmla="*/ 227 w 250"/>
                <a:gd name="T3" fmla="*/ 45 h 318"/>
                <a:gd name="T4" fmla="*/ 182 w 250"/>
                <a:gd name="T5" fmla="*/ 0 h 318"/>
                <a:gd name="T6" fmla="*/ 68 w 250"/>
                <a:gd name="T7" fmla="*/ 0 h 318"/>
                <a:gd name="T8" fmla="*/ 23 w 250"/>
                <a:gd name="T9" fmla="*/ 45 h 318"/>
                <a:gd name="T10" fmla="*/ 23 w 250"/>
                <a:gd name="T11" fmla="*/ 136 h 318"/>
                <a:gd name="T12" fmla="*/ 0 w 250"/>
                <a:gd name="T13" fmla="*/ 136 h 318"/>
                <a:gd name="T14" fmla="*/ 0 w 250"/>
                <a:gd name="T15" fmla="*/ 318 h 318"/>
                <a:gd name="T16" fmla="*/ 250 w 250"/>
                <a:gd name="T17" fmla="*/ 318 h 318"/>
                <a:gd name="T18" fmla="*/ 250 w 250"/>
                <a:gd name="T19" fmla="*/ 136 h 318"/>
                <a:gd name="T20" fmla="*/ 227 w 250"/>
                <a:gd name="T21" fmla="*/ 136 h 318"/>
                <a:gd name="T22" fmla="*/ 159 w 250"/>
                <a:gd name="T23" fmla="*/ 216 h 318"/>
                <a:gd name="T24" fmla="*/ 142 w 250"/>
                <a:gd name="T25" fmla="*/ 216 h 318"/>
                <a:gd name="T26" fmla="*/ 142 w 250"/>
                <a:gd name="T27" fmla="*/ 284 h 318"/>
                <a:gd name="T28" fmla="*/ 108 w 250"/>
                <a:gd name="T29" fmla="*/ 284 h 318"/>
                <a:gd name="T30" fmla="*/ 108 w 250"/>
                <a:gd name="T31" fmla="*/ 216 h 318"/>
                <a:gd name="T32" fmla="*/ 91 w 250"/>
                <a:gd name="T33" fmla="*/ 216 h 318"/>
                <a:gd name="T34" fmla="*/ 91 w 250"/>
                <a:gd name="T35" fmla="*/ 170 h 318"/>
                <a:gd name="T36" fmla="*/ 159 w 250"/>
                <a:gd name="T37" fmla="*/ 170 h 318"/>
                <a:gd name="T38" fmla="*/ 159 w 250"/>
                <a:gd name="T39" fmla="*/ 216 h 318"/>
                <a:gd name="T40" fmla="*/ 68 w 250"/>
                <a:gd name="T41" fmla="*/ 136 h 318"/>
                <a:gd name="T42" fmla="*/ 68 w 250"/>
                <a:gd name="T43" fmla="*/ 68 h 318"/>
                <a:gd name="T44" fmla="*/ 91 w 250"/>
                <a:gd name="T45" fmla="*/ 45 h 318"/>
                <a:gd name="T46" fmla="*/ 159 w 250"/>
                <a:gd name="T47" fmla="*/ 45 h 318"/>
                <a:gd name="T48" fmla="*/ 182 w 250"/>
                <a:gd name="T49" fmla="*/ 68 h 318"/>
                <a:gd name="T50" fmla="*/ 182 w 250"/>
                <a:gd name="T51" fmla="*/ 136 h 318"/>
                <a:gd name="T52" fmla="*/ 68 w 250"/>
                <a:gd name="T53" fmla="*/ 136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0" h="318">
                  <a:moveTo>
                    <a:pt x="227" y="136"/>
                  </a:moveTo>
                  <a:cubicBezTo>
                    <a:pt x="227" y="45"/>
                    <a:pt x="227" y="45"/>
                    <a:pt x="227" y="45"/>
                  </a:cubicBezTo>
                  <a:cubicBezTo>
                    <a:pt x="227" y="20"/>
                    <a:pt x="207" y="0"/>
                    <a:pt x="18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43" y="0"/>
                    <a:pt x="23" y="20"/>
                    <a:pt x="23" y="45"/>
                  </a:cubicBezTo>
                  <a:cubicBezTo>
                    <a:pt x="23" y="136"/>
                    <a:pt x="23" y="136"/>
                    <a:pt x="23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250" y="318"/>
                    <a:pt x="250" y="318"/>
                    <a:pt x="250" y="318"/>
                  </a:cubicBezTo>
                  <a:cubicBezTo>
                    <a:pt x="250" y="136"/>
                    <a:pt x="250" y="136"/>
                    <a:pt x="250" y="136"/>
                  </a:cubicBezTo>
                  <a:lnTo>
                    <a:pt x="227" y="136"/>
                  </a:lnTo>
                  <a:close/>
                  <a:moveTo>
                    <a:pt x="159" y="216"/>
                  </a:moveTo>
                  <a:cubicBezTo>
                    <a:pt x="142" y="216"/>
                    <a:pt x="142" y="216"/>
                    <a:pt x="142" y="216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08" y="284"/>
                    <a:pt x="108" y="284"/>
                    <a:pt x="108" y="284"/>
                  </a:cubicBezTo>
                  <a:cubicBezTo>
                    <a:pt x="108" y="216"/>
                    <a:pt x="108" y="216"/>
                    <a:pt x="108" y="216"/>
                  </a:cubicBezTo>
                  <a:cubicBezTo>
                    <a:pt x="91" y="216"/>
                    <a:pt x="91" y="216"/>
                    <a:pt x="91" y="216"/>
                  </a:cubicBezTo>
                  <a:cubicBezTo>
                    <a:pt x="91" y="170"/>
                    <a:pt x="91" y="170"/>
                    <a:pt x="91" y="170"/>
                  </a:cubicBezTo>
                  <a:cubicBezTo>
                    <a:pt x="159" y="170"/>
                    <a:pt x="159" y="170"/>
                    <a:pt x="159" y="170"/>
                  </a:cubicBezTo>
                  <a:lnTo>
                    <a:pt x="159" y="216"/>
                  </a:lnTo>
                  <a:close/>
                  <a:moveTo>
                    <a:pt x="68" y="136"/>
                  </a:moveTo>
                  <a:cubicBezTo>
                    <a:pt x="68" y="68"/>
                    <a:pt x="68" y="68"/>
                    <a:pt x="68" y="68"/>
                  </a:cubicBezTo>
                  <a:cubicBezTo>
                    <a:pt x="68" y="56"/>
                    <a:pt x="79" y="45"/>
                    <a:pt x="91" y="45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72" y="45"/>
                    <a:pt x="182" y="56"/>
                    <a:pt x="182" y="68"/>
                  </a:cubicBezTo>
                  <a:cubicBezTo>
                    <a:pt x="182" y="136"/>
                    <a:pt x="182" y="136"/>
                    <a:pt x="182" y="136"/>
                  </a:cubicBezTo>
                  <a:lnTo>
                    <a:pt x="68" y="1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1200" cap="none" spc="0" normalizeH="0" baseline="0" noProof="0" dirty="0">
                <a:ln>
                  <a:noFill/>
                </a:ln>
                <a:solidFill>
                  <a:srgbClr val="41AAA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0" name="Ellipse 99">
            <a:extLst>
              <a:ext uri="{FF2B5EF4-FFF2-40B4-BE49-F238E27FC236}">
                <a16:creationId xmlns:a16="http://schemas.microsoft.com/office/drawing/2014/main" id="{3C5F12D6-7A4F-4573-85B3-D73B7222CA2F}"/>
              </a:ext>
            </a:extLst>
          </p:cNvPr>
          <p:cNvSpPr>
            <a:spLocks/>
          </p:cNvSpPr>
          <p:nvPr/>
        </p:nvSpPr>
        <p:spPr bwMode="auto">
          <a:xfrm>
            <a:off x="640711" y="2646081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1" name="Ellipse 100">
            <a:extLst>
              <a:ext uri="{FF2B5EF4-FFF2-40B4-BE49-F238E27FC236}">
                <a16:creationId xmlns:a16="http://schemas.microsoft.com/office/drawing/2014/main" id="{2704C90B-ABA6-4368-A3AF-980C1350F160}"/>
              </a:ext>
            </a:extLst>
          </p:cNvPr>
          <p:cNvSpPr>
            <a:spLocks/>
          </p:cNvSpPr>
          <p:nvPr/>
        </p:nvSpPr>
        <p:spPr bwMode="auto">
          <a:xfrm>
            <a:off x="601131" y="2606501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7" name="Freeform 9">
            <a:extLst>
              <a:ext uri="{FF2B5EF4-FFF2-40B4-BE49-F238E27FC236}">
                <a16:creationId xmlns:a16="http://schemas.microsoft.com/office/drawing/2014/main" id="{F21AA5ED-6E1F-4C8B-B174-57B231843950}"/>
              </a:ext>
            </a:extLst>
          </p:cNvPr>
          <p:cNvSpPr>
            <a:spLocks noEditPoints="1"/>
          </p:cNvSpPr>
          <p:nvPr/>
        </p:nvSpPr>
        <p:spPr bwMode="gray">
          <a:xfrm>
            <a:off x="946648" y="2938065"/>
            <a:ext cx="113462" cy="144144"/>
          </a:xfrm>
          <a:custGeom>
            <a:avLst/>
            <a:gdLst>
              <a:gd name="T0" fmla="*/ 227 w 250"/>
              <a:gd name="T1" fmla="*/ 136 h 318"/>
              <a:gd name="T2" fmla="*/ 227 w 250"/>
              <a:gd name="T3" fmla="*/ 45 h 318"/>
              <a:gd name="T4" fmla="*/ 182 w 250"/>
              <a:gd name="T5" fmla="*/ 0 h 318"/>
              <a:gd name="T6" fmla="*/ 68 w 250"/>
              <a:gd name="T7" fmla="*/ 0 h 318"/>
              <a:gd name="T8" fmla="*/ 23 w 250"/>
              <a:gd name="T9" fmla="*/ 45 h 318"/>
              <a:gd name="T10" fmla="*/ 23 w 250"/>
              <a:gd name="T11" fmla="*/ 136 h 318"/>
              <a:gd name="T12" fmla="*/ 0 w 250"/>
              <a:gd name="T13" fmla="*/ 136 h 318"/>
              <a:gd name="T14" fmla="*/ 0 w 250"/>
              <a:gd name="T15" fmla="*/ 318 h 318"/>
              <a:gd name="T16" fmla="*/ 250 w 250"/>
              <a:gd name="T17" fmla="*/ 318 h 318"/>
              <a:gd name="T18" fmla="*/ 250 w 250"/>
              <a:gd name="T19" fmla="*/ 136 h 318"/>
              <a:gd name="T20" fmla="*/ 227 w 250"/>
              <a:gd name="T21" fmla="*/ 136 h 318"/>
              <a:gd name="T22" fmla="*/ 159 w 250"/>
              <a:gd name="T23" fmla="*/ 216 h 318"/>
              <a:gd name="T24" fmla="*/ 142 w 250"/>
              <a:gd name="T25" fmla="*/ 216 h 318"/>
              <a:gd name="T26" fmla="*/ 142 w 250"/>
              <a:gd name="T27" fmla="*/ 284 h 318"/>
              <a:gd name="T28" fmla="*/ 108 w 250"/>
              <a:gd name="T29" fmla="*/ 284 h 318"/>
              <a:gd name="T30" fmla="*/ 108 w 250"/>
              <a:gd name="T31" fmla="*/ 216 h 318"/>
              <a:gd name="T32" fmla="*/ 91 w 250"/>
              <a:gd name="T33" fmla="*/ 216 h 318"/>
              <a:gd name="T34" fmla="*/ 91 w 250"/>
              <a:gd name="T35" fmla="*/ 170 h 318"/>
              <a:gd name="T36" fmla="*/ 159 w 250"/>
              <a:gd name="T37" fmla="*/ 170 h 318"/>
              <a:gd name="T38" fmla="*/ 159 w 250"/>
              <a:gd name="T39" fmla="*/ 216 h 318"/>
              <a:gd name="T40" fmla="*/ 68 w 250"/>
              <a:gd name="T41" fmla="*/ 136 h 318"/>
              <a:gd name="T42" fmla="*/ 68 w 250"/>
              <a:gd name="T43" fmla="*/ 68 h 318"/>
              <a:gd name="T44" fmla="*/ 91 w 250"/>
              <a:gd name="T45" fmla="*/ 45 h 318"/>
              <a:gd name="T46" fmla="*/ 159 w 250"/>
              <a:gd name="T47" fmla="*/ 45 h 318"/>
              <a:gd name="T48" fmla="*/ 182 w 250"/>
              <a:gd name="T49" fmla="*/ 68 h 318"/>
              <a:gd name="T50" fmla="*/ 182 w 250"/>
              <a:gd name="T51" fmla="*/ 136 h 318"/>
              <a:gd name="T52" fmla="*/ 68 w 250"/>
              <a:gd name="T53" fmla="*/ 136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50" h="318">
                <a:moveTo>
                  <a:pt x="227" y="136"/>
                </a:moveTo>
                <a:cubicBezTo>
                  <a:pt x="227" y="45"/>
                  <a:pt x="227" y="45"/>
                  <a:pt x="227" y="45"/>
                </a:cubicBezTo>
                <a:cubicBezTo>
                  <a:pt x="227" y="20"/>
                  <a:pt x="207" y="0"/>
                  <a:pt x="182" y="0"/>
                </a:cubicBezTo>
                <a:cubicBezTo>
                  <a:pt x="68" y="0"/>
                  <a:pt x="68" y="0"/>
                  <a:pt x="68" y="0"/>
                </a:cubicBezTo>
                <a:cubicBezTo>
                  <a:pt x="43" y="0"/>
                  <a:pt x="23" y="20"/>
                  <a:pt x="23" y="45"/>
                </a:cubicBezTo>
                <a:cubicBezTo>
                  <a:pt x="23" y="136"/>
                  <a:pt x="23" y="136"/>
                  <a:pt x="23" y="136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318"/>
                  <a:pt x="0" y="318"/>
                  <a:pt x="0" y="318"/>
                </a:cubicBezTo>
                <a:cubicBezTo>
                  <a:pt x="250" y="318"/>
                  <a:pt x="250" y="318"/>
                  <a:pt x="250" y="318"/>
                </a:cubicBezTo>
                <a:cubicBezTo>
                  <a:pt x="250" y="136"/>
                  <a:pt x="250" y="136"/>
                  <a:pt x="250" y="136"/>
                </a:cubicBezTo>
                <a:lnTo>
                  <a:pt x="227" y="136"/>
                </a:lnTo>
                <a:close/>
                <a:moveTo>
                  <a:pt x="159" y="216"/>
                </a:moveTo>
                <a:cubicBezTo>
                  <a:pt x="142" y="216"/>
                  <a:pt x="142" y="216"/>
                  <a:pt x="142" y="216"/>
                </a:cubicBezTo>
                <a:cubicBezTo>
                  <a:pt x="142" y="284"/>
                  <a:pt x="142" y="284"/>
                  <a:pt x="142" y="284"/>
                </a:cubicBezTo>
                <a:cubicBezTo>
                  <a:pt x="108" y="284"/>
                  <a:pt x="108" y="284"/>
                  <a:pt x="108" y="284"/>
                </a:cubicBezTo>
                <a:cubicBezTo>
                  <a:pt x="108" y="216"/>
                  <a:pt x="108" y="216"/>
                  <a:pt x="108" y="216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170"/>
                  <a:pt x="91" y="170"/>
                  <a:pt x="91" y="170"/>
                </a:cubicBezTo>
                <a:cubicBezTo>
                  <a:pt x="159" y="170"/>
                  <a:pt x="159" y="170"/>
                  <a:pt x="159" y="170"/>
                </a:cubicBezTo>
                <a:lnTo>
                  <a:pt x="159" y="216"/>
                </a:lnTo>
                <a:close/>
                <a:moveTo>
                  <a:pt x="68" y="136"/>
                </a:moveTo>
                <a:cubicBezTo>
                  <a:pt x="68" y="68"/>
                  <a:pt x="68" y="68"/>
                  <a:pt x="68" y="68"/>
                </a:cubicBezTo>
                <a:cubicBezTo>
                  <a:pt x="68" y="56"/>
                  <a:pt x="79" y="45"/>
                  <a:pt x="91" y="45"/>
                </a:cubicBezTo>
                <a:cubicBezTo>
                  <a:pt x="159" y="45"/>
                  <a:pt x="159" y="45"/>
                  <a:pt x="159" y="45"/>
                </a:cubicBezTo>
                <a:cubicBezTo>
                  <a:pt x="172" y="45"/>
                  <a:pt x="182" y="56"/>
                  <a:pt x="182" y="68"/>
                </a:cubicBezTo>
                <a:cubicBezTo>
                  <a:pt x="182" y="136"/>
                  <a:pt x="182" y="136"/>
                  <a:pt x="182" y="136"/>
                </a:cubicBezTo>
                <a:lnTo>
                  <a:pt x="68" y="1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99" b="0" i="0" u="none" strike="noStrike" kern="1200" cap="none" spc="0" normalizeH="0" baseline="0" noProof="0" dirty="0">
              <a:ln>
                <a:noFill/>
              </a:ln>
              <a:solidFill>
                <a:srgbClr val="41AAA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B35E6340-0B1C-41DC-BE31-C24FEF9202F7}"/>
              </a:ext>
            </a:extLst>
          </p:cNvPr>
          <p:cNvGrpSpPr/>
          <p:nvPr/>
        </p:nvGrpSpPr>
        <p:grpSpPr>
          <a:xfrm>
            <a:off x="1133633" y="1823938"/>
            <a:ext cx="9538970" cy="3377565"/>
            <a:chOff x="1441450" y="1857375"/>
            <a:chExt cx="9538970" cy="3377565"/>
          </a:xfrm>
        </p:grpSpPr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1309B7C4-C4CF-4F92-849D-D6E6681930D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990850" y="2905125"/>
              <a:ext cx="507842" cy="1144687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06" name="Gerader Verbinder 105">
              <a:extLst>
                <a:ext uri="{FF2B5EF4-FFF2-40B4-BE49-F238E27FC236}">
                  <a16:creationId xmlns:a16="http://schemas.microsoft.com/office/drawing/2014/main" id="{7BEC579A-0B81-49EA-B8D9-D232D71CC78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019300" y="2905125"/>
              <a:ext cx="414338" cy="1482725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07" name="Gerader Verbinder 106">
              <a:extLst>
                <a:ext uri="{FF2B5EF4-FFF2-40B4-BE49-F238E27FC236}">
                  <a16:creationId xmlns:a16="http://schemas.microsoft.com/office/drawing/2014/main" id="{D6B07D2B-2C50-4A7F-96C4-90F15B08387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155950" y="1857375"/>
              <a:ext cx="4325938" cy="42407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08" name="Gerader Verbinder 107">
              <a:extLst>
                <a:ext uri="{FF2B5EF4-FFF2-40B4-BE49-F238E27FC236}">
                  <a16:creationId xmlns:a16="http://schemas.microsoft.com/office/drawing/2014/main" id="{069E73F7-1CC3-4FF1-B693-0C404B349EB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679870" y="2181225"/>
              <a:ext cx="887743" cy="440059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56C76DE8-3FCE-4452-ABA5-1F25828B3881}"/>
                </a:ext>
              </a:extLst>
            </p:cNvPr>
            <p:cNvCxnSpPr/>
            <p:nvPr/>
          </p:nvCxnSpPr>
          <p:spPr bwMode="auto">
            <a:xfrm flipH="1">
              <a:off x="7353300" y="3606172"/>
              <a:ext cx="1575700" cy="74288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0" name="Gerader Verbinder 109">
              <a:extLst>
                <a:ext uri="{FF2B5EF4-FFF2-40B4-BE49-F238E27FC236}">
                  <a16:creationId xmlns:a16="http://schemas.microsoft.com/office/drawing/2014/main" id="{112AC57C-8BC5-4277-851D-E731367E111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549964" y="2120900"/>
              <a:ext cx="589986" cy="471604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1" name="Gerader Verbinder 110">
              <a:extLst>
                <a:ext uri="{FF2B5EF4-FFF2-40B4-BE49-F238E27FC236}">
                  <a16:creationId xmlns:a16="http://schemas.microsoft.com/office/drawing/2014/main" id="{9A7F01A8-7263-49D9-B840-472526B44C8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55950" y="2092325"/>
              <a:ext cx="549275" cy="146050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2" name="Gerader Verbinder 111">
              <a:extLst>
                <a:ext uri="{FF2B5EF4-FFF2-40B4-BE49-F238E27FC236}">
                  <a16:creationId xmlns:a16="http://schemas.microsoft.com/office/drawing/2014/main" id="{1A0D1EAA-5F78-4E86-9445-AE95EF5D542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11442" y="3511550"/>
              <a:ext cx="108110" cy="512862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3" name="Gerader Verbinder 112">
              <a:extLst>
                <a:ext uri="{FF2B5EF4-FFF2-40B4-BE49-F238E27FC236}">
                  <a16:creationId xmlns:a16="http://schemas.microsoft.com/office/drawing/2014/main" id="{8A59BBAD-7402-462C-9CDB-E2FB5513D9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09750" y="3289300"/>
              <a:ext cx="1479392" cy="951012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4" name="Gerader Verbinder 113">
              <a:extLst>
                <a:ext uri="{FF2B5EF4-FFF2-40B4-BE49-F238E27FC236}">
                  <a16:creationId xmlns:a16="http://schemas.microsoft.com/office/drawing/2014/main" id="{BA5BDFC5-2847-4423-B517-A5AF522F90F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41450" y="4019550"/>
              <a:ext cx="135924" cy="400872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5" name="Gerader Verbinder 114">
              <a:extLst>
                <a:ext uri="{FF2B5EF4-FFF2-40B4-BE49-F238E27FC236}">
                  <a16:creationId xmlns:a16="http://schemas.microsoft.com/office/drawing/2014/main" id="{4DC352BB-2193-43AB-8DF4-349C4B579B41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349500" y="4665762"/>
              <a:ext cx="860267" cy="160238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339A34F9-B413-4461-BAE6-05C9024640C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686300" y="2014538"/>
              <a:ext cx="2838450" cy="299688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7" name="Gerader Verbinder 116">
              <a:extLst>
                <a:ext uri="{FF2B5EF4-FFF2-40B4-BE49-F238E27FC236}">
                  <a16:creationId xmlns:a16="http://schemas.microsoft.com/office/drawing/2014/main" id="{F5D330DD-C793-4904-94DB-692434AB6C5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72500" y="1936750"/>
              <a:ext cx="1854200" cy="298450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8" name="Gerader Verbinder 117">
              <a:extLst>
                <a:ext uri="{FF2B5EF4-FFF2-40B4-BE49-F238E27FC236}">
                  <a16:creationId xmlns:a16="http://schemas.microsoft.com/office/drawing/2014/main" id="{C6D25299-9364-4AAC-8EC2-B1C30012A33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9837422" y="3051018"/>
              <a:ext cx="202871" cy="96042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19" name="Gerader Verbinder 118">
              <a:extLst>
                <a:ext uri="{FF2B5EF4-FFF2-40B4-BE49-F238E27FC236}">
                  <a16:creationId xmlns:a16="http://schemas.microsoft.com/office/drawing/2014/main" id="{0B8E320C-371F-4011-8DF3-7819B0392B3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646954" y="4179220"/>
              <a:ext cx="171451" cy="180974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0" name="Gerader Verbinder 119">
              <a:extLst>
                <a:ext uri="{FF2B5EF4-FFF2-40B4-BE49-F238E27FC236}">
                  <a16:creationId xmlns:a16="http://schemas.microsoft.com/office/drawing/2014/main" id="{BD76D85B-EF50-4935-914A-51CE9144F68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959340" y="4251960"/>
              <a:ext cx="472440" cy="563880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1" name="Gerader Verbinder 120">
              <a:extLst>
                <a:ext uri="{FF2B5EF4-FFF2-40B4-BE49-F238E27FC236}">
                  <a16:creationId xmlns:a16="http://schemas.microsoft.com/office/drawing/2014/main" id="{12D2CDAD-0BE1-450B-BD29-82BA59E0CD3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16950" y="2876550"/>
              <a:ext cx="400050" cy="336550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BE43C8F6-9381-4360-AFE7-E12A57B530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683125" y="2590800"/>
              <a:ext cx="506095" cy="259080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3" name="Gerader Verbinder 122">
              <a:extLst>
                <a:ext uri="{FF2B5EF4-FFF2-40B4-BE49-F238E27FC236}">
                  <a16:creationId xmlns:a16="http://schemas.microsoft.com/office/drawing/2014/main" id="{96957180-B58B-4353-8F90-C35B8E848E91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7254240" y="4450080"/>
              <a:ext cx="429260" cy="169234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4" name="Gerader Verbinder 123">
              <a:extLst>
                <a:ext uri="{FF2B5EF4-FFF2-40B4-BE49-F238E27FC236}">
                  <a16:creationId xmlns:a16="http://schemas.microsoft.com/office/drawing/2014/main" id="{944E6086-1500-4EC3-B3FC-3C7034503925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254342" y="4238625"/>
              <a:ext cx="593883" cy="147737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5" name="Gerader Verbinder 124">
              <a:extLst>
                <a:ext uri="{FF2B5EF4-FFF2-40B4-BE49-F238E27FC236}">
                  <a16:creationId xmlns:a16="http://schemas.microsoft.com/office/drawing/2014/main" id="{501CD0EB-0972-41B9-8EA0-16E3D6FFD855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8105776" y="3062288"/>
              <a:ext cx="79216" cy="1112169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6" name="Gerader Verbinder 125">
              <a:extLst>
                <a:ext uri="{FF2B5EF4-FFF2-40B4-BE49-F238E27FC236}">
                  <a16:creationId xmlns:a16="http://schemas.microsoft.com/office/drawing/2014/main" id="{7E9CF690-2A34-4BE1-9EFF-26AAB255D69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0888981" y="3550920"/>
              <a:ext cx="91439" cy="1150620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  <p:cxnSp>
          <p:nvCxnSpPr>
            <p:cNvPr id="127" name="Gerader Verbinder 126">
              <a:extLst>
                <a:ext uri="{FF2B5EF4-FFF2-40B4-BE49-F238E27FC236}">
                  <a16:creationId xmlns:a16="http://schemas.microsoft.com/office/drawing/2014/main" id="{35ECC9DA-D261-4CFF-BA74-533331855EF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704105" y="4850732"/>
              <a:ext cx="1582895" cy="384208"/>
            </a:xfrm>
            <a:prstGeom prst="line">
              <a:avLst/>
            </a:prstGeom>
            <a:noFill/>
            <a:ln w="9525" cap="rnd">
              <a:gradFill flip="none" rotWithShape="1">
                <a:gsLst>
                  <a:gs pos="0">
                    <a:schemeClr val="accent3"/>
                  </a:gs>
                  <a:gs pos="100000">
                    <a:schemeClr val="accent2"/>
                  </a:gs>
                </a:gsLst>
                <a:lin ang="5400000" scaled="1"/>
                <a:tileRect/>
              </a:gradFill>
              <a:prstDash val="lgDash"/>
            </a:ln>
            <a:effectLst/>
          </p:spPr>
        </p:cxnSp>
      </p:grpSp>
      <p:sp>
        <p:nvSpPr>
          <p:cNvPr id="135" name="Textfeld 134">
            <a:extLst>
              <a:ext uri="{FF2B5EF4-FFF2-40B4-BE49-F238E27FC236}">
                <a16:creationId xmlns:a16="http://schemas.microsoft.com/office/drawing/2014/main" id="{320D92A1-B251-4C37-AC7A-41D7A7912E5A}"/>
              </a:ext>
            </a:extLst>
          </p:cNvPr>
          <p:cNvSpPr txBox="1">
            <a:spLocks/>
          </p:cNvSpPr>
          <p:nvPr/>
        </p:nvSpPr>
        <p:spPr bwMode="gray">
          <a:xfrm>
            <a:off x="1548221" y="2306246"/>
            <a:ext cx="1515994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spc="-10" dirty="0">
                <a:solidFill>
                  <a:srgbClr val="000000"/>
                </a:solidFill>
                <a:latin typeface="Arial"/>
              </a:rPr>
              <a:t>Автоматическая диагностика</a:t>
            </a:r>
            <a:endParaRPr kumimoji="0" lang="en-GB" sz="14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Ellipse 139">
            <a:extLst>
              <a:ext uri="{FF2B5EF4-FFF2-40B4-BE49-F238E27FC236}">
                <a16:creationId xmlns:a16="http://schemas.microsoft.com/office/drawing/2014/main" id="{8BC2051F-2BC2-418B-84FA-B1B0F9EBB960}"/>
              </a:ext>
            </a:extLst>
          </p:cNvPr>
          <p:cNvSpPr>
            <a:spLocks/>
          </p:cNvSpPr>
          <p:nvPr/>
        </p:nvSpPr>
        <p:spPr bwMode="auto">
          <a:xfrm>
            <a:off x="7364658" y="1414463"/>
            <a:ext cx="720360" cy="720360"/>
          </a:xfrm>
          <a:prstGeom prst="ellipse">
            <a:avLst/>
          </a:prstGeom>
          <a:noFill/>
          <a:ln w="12700">
            <a:solidFill>
              <a:schemeClr val="accent2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1" name="Ellipse 140">
            <a:extLst>
              <a:ext uri="{FF2B5EF4-FFF2-40B4-BE49-F238E27FC236}">
                <a16:creationId xmlns:a16="http://schemas.microsoft.com/office/drawing/2014/main" id="{B4CCB72D-C67F-41F5-BAAE-F2ACDBD34DA1}"/>
              </a:ext>
            </a:extLst>
          </p:cNvPr>
          <p:cNvSpPr>
            <a:spLocks/>
          </p:cNvSpPr>
          <p:nvPr/>
        </p:nvSpPr>
        <p:spPr bwMode="auto">
          <a:xfrm>
            <a:off x="7325078" y="1374883"/>
            <a:ext cx="799520" cy="799520"/>
          </a:xfrm>
          <a:prstGeom prst="ellipse">
            <a:avLst/>
          </a:prstGeom>
          <a:noFill/>
          <a:ln w="12700" cap="rnd">
            <a:solidFill>
              <a:srgbClr val="CCCCD4"/>
            </a:solidFill>
            <a:prstDash val="sysDot"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9" name="Freihandform: Form 138">
            <a:extLst>
              <a:ext uri="{FF2B5EF4-FFF2-40B4-BE49-F238E27FC236}">
                <a16:creationId xmlns:a16="http://schemas.microsoft.com/office/drawing/2014/main" id="{D0F71770-78A7-450A-80F9-AB89B1C9719F}"/>
              </a:ext>
            </a:extLst>
          </p:cNvPr>
          <p:cNvSpPr>
            <a:spLocks/>
          </p:cNvSpPr>
          <p:nvPr/>
        </p:nvSpPr>
        <p:spPr>
          <a:xfrm>
            <a:off x="7541597" y="1611213"/>
            <a:ext cx="366484" cy="326860"/>
          </a:xfrm>
          <a:custGeom>
            <a:avLst/>
            <a:gdLst>
              <a:gd name="connsiteX0" fmla="*/ 1457992 w 1998059"/>
              <a:gd name="connsiteY0" fmla="*/ 1511998 h 1782032"/>
              <a:gd name="connsiteX1" fmla="*/ 1457992 w 1998059"/>
              <a:gd name="connsiteY1" fmla="*/ 1620012 h 1782032"/>
              <a:gd name="connsiteX2" fmla="*/ 1836039 w 1998059"/>
              <a:gd name="connsiteY2" fmla="*/ 1620012 h 1782032"/>
              <a:gd name="connsiteX3" fmla="*/ 1836039 w 1998059"/>
              <a:gd name="connsiteY3" fmla="*/ 1511998 h 1782032"/>
              <a:gd name="connsiteX4" fmla="*/ 918020 w 1998059"/>
              <a:gd name="connsiteY4" fmla="*/ 1295971 h 1782032"/>
              <a:gd name="connsiteX5" fmla="*/ 918020 w 1998059"/>
              <a:gd name="connsiteY5" fmla="*/ 1403985 h 1782032"/>
              <a:gd name="connsiteX6" fmla="*/ 1457992 w 1998059"/>
              <a:gd name="connsiteY6" fmla="*/ 1403985 h 1782032"/>
              <a:gd name="connsiteX7" fmla="*/ 1457992 w 1998059"/>
              <a:gd name="connsiteY7" fmla="*/ 1295971 h 1782032"/>
              <a:gd name="connsiteX8" fmla="*/ 486061 w 1998059"/>
              <a:gd name="connsiteY8" fmla="*/ 1079944 h 1782032"/>
              <a:gd name="connsiteX9" fmla="*/ 486061 w 1998059"/>
              <a:gd name="connsiteY9" fmla="*/ 1187958 h 1782032"/>
              <a:gd name="connsiteX10" fmla="*/ 1458087 w 1998059"/>
              <a:gd name="connsiteY10" fmla="*/ 1187958 h 1782032"/>
              <a:gd name="connsiteX11" fmla="*/ 1458087 w 1998059"/>
              <a:gd name="connsiteY11" fmla="*/ 1079944 h 1782032"/>
              <a:gd name="connsiteX12" fmla="*/ 162020 w 1998059"/>
              <a:gd name="connsiteY12" fmla="*/ 864013 h 1782032"/>
              <a:gd name="connsiteX13" fmla="*/ 162020 w 1998059"/>
              <a:gd name="connsiteY13" fmla="*/ 972026 h 1782032"/>
              <a:gd name="connsiteX14" fmla="*/ 918020 w 1998059"/>
              <a:gd name="connsiteY14" fmla="*/ 972026 h 1782032"/>
              <a:gd name="connsiteX15" fmla="*/ 918020 w 1998059"/>
              <a:gd name="connsiteY15" fmla="*/ 864013 h 1782032"/>
              <a:gd name="connsiteX16" fmla="*/ 162020 w 1998059"/>
              <a:gd name="connsiteY16" fmla="*/ 647986 h 1782032"/>
              <a:gd name="connsiteX17" fmla="*/ 162020 w 1998059"/>
              <a:gd name="connsiteY17" fmla="*/ 755999 h 1782032"/>
              <a:gd name="connsiteX18" fmla="*/ 1457992 w 1998059"/>
              <a:gd name="connsiteY18" fmla="*/ 755999 h 1782032"/>
              <a:gd name="connsiteX19" fmla="*/ 1457992 w 1998059"/>
              <a:gd name="connsiteY19" fmla="*/ 647986 h 1782032"/>
              <a:gd name="connsiteX20" fmla="*/ 0 w 1998059"/>
              <a:gd name="connsiteY20" fmla="*/ 539972 h 1782032"/>
              <a:gd name="connsiteX21" fmla="*/ 1997964 w 1998059"/>
              <a:gd name="connsiteY21" fmla="*/ 539972 h 1782032"/>
              <a:gd name="connsiteX22" fmla="*/ 1997964 w 1998059"/>
              <a:gd name="connsiteY22" fmla="*/ 1782032 h 1782032"/>
              <a:gd name="connsiteX23" fmla="*/ 0 w 1998059"/>
              <a:gd name="connsiteY23" fmla="*/ 1782032 h 1782032"/>
              <a:gd name="connsiteX24" fmla="*/ 324041 w 1998059"/>
              <a:gd name="connsiteY24" fmla="*/ 0 h 1782032"/>
              <a:gd name="connsiteX25" fmla="*/ 486061 w 1998059"/>
              <a:gd name="connsiteY25" fmla="*/ 0 h 1782032"/>
              <a:gd name="connsiteX26" fmla="*/ 486061 w 1998059"/>
              <a:gd name="connsiteY26" fmla="*/ 162020 h 1782032"/>
              <a:gd name="connsiteX27" fmla="*/ 1511999 w 1998059"/>
              <a:gd name="connsiteY27" fmla="*/ 162020 h 1782032"/>
              <a:gd name="connsiteX28" fmla="*/ 1511999 w 1998059"/>
              <a:gd name="connsiteY28" fmla="*/ 0 h 1782032"/>
              <a:gd name="connsiteX29" fmla="*/ 1674019 w 1998059"/>
              <a:gd name="connsiteY29" fmla="*/ 0 h 1782032"/>
              <a:gd name="connsiteX30" fmla="*/ 1674019 w 1998059"/>
              <a:gd name="connsiteY30" fmla="*/ 162020 h 1782032"/>
              <a:gd name="connsiteX31" fmla="*/ 1998059 w 1998059"/>
              <a:gd name="connsiteY31" fmla="*/ 162020 h 1782032"/>
              <a:gd name="connsiteX32" fmla="*/ 1998059 w 1998059"/>
              <a:gd name="connsiteY32" fmla="*/ 431959 h 1782032"/>
              <a:gd name="connsiteX33" fmla="*/ 0 w 1998059"/>
              <a:gd name="connsiteY33" fmla="*/ 431959 h 1782032"/>
              <a:gd name="connsiteX34" fmla="*/ 0 w 1998059"/>
              <a:gd name="connsiteY34" fmla="*/ 162020 h 1782032"/>
              <a:gd name="connsiteX35" fmla="*/ 324041 w 1998059"/>
              <a:gd name="connsiteY35" fmla="*/ 162020 h 178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998059" h="1782032">
                <a:moveTo>
                  <a:pt x="1457992" y="1511998"/>
                </a:moveTo>
                <a:lnTo>
                  <a:pt x="1457992" y="1620012"/>
                </a:lnTo>
                <a:lnTo>
                  <a:pt x="1836039" y="1620012"/>
                </a:lnTo>
                <a:lnTo>
                  <a:pt x="1836039" y="1511998"/>
                </a:lnTo>
                <a:close/>
                <a:moveTo>
                  <a:pt x="918020" y="1295971"/>
                </a:moveTo>
                <a:lnTo>
                  <a:pt x="918020" y="1403985"/>
                </a:lnTo>
                <a:lnTo>
                  <a:pt x="1457992" y="1403985"/>
                </a:lnTo>
                <a:lnTo>
                  <a:pt x="1457992" y="1295971"/>
                </a:lnTo>
                <a:close/>
                <a:moveTo>
                  <a:pt x="486061" y="1079944"/>
                </a:moveTo>
                <a:lnTo>
                  <a:pt x="486061" y="1187958"/>
                </a:lnTo>
                <a:lnTo>
                  <a:pt x="1458087" y="1187958"/>
                </a:lnTo>
                <a:lnTo>
                  <a:pt x="1458087" y="1079944"/>
                </a:lnTo>
                <a:close/>
                <a:moveTo>
                  <a:pt x="162020" y="864013"/>
                </a:moveTo>
                <a:lnTo>
                  <a:pt x="162020" y="972026"/>
                </a:lnTo>
                <a:lnTo>
                  <a:pt x="918020" y="972026"/>
                </a:lnTo>
                <a:lnTo>
                  <a:pt x="918020" y="864013"/>
                </a:lnTo>
                <a:close/>
                <a:moveTo>
                  <a:pt x="162020" y="647986"/>
                </a:moveTo>
                <a:lnTo>
                  <a:pt x="162020" y="755999"/>
                </a:lnTo>
                <a:lnTo>
                  <a:pt x="1457992" y="755999"/>
                </a:lnTo>
                <a:lnTo>
                  <a:pt x="1457992" y="647986"/>
                </a:lnTo>
                <a:close/>
                <a:moveTo>
                  <a:pt x="0" y="539972"/>
                </a:moveTo>
                <a:lnTo>
                  <a:pt x="1997964" y="539972"/>
                </a:lnTo>
                <a:lnTo>
                  <a:pt x="1997964" y="1782032"/>
                </a:lnTo>
                <a:lnTo>
                  <a:pt x="0" y="1782032"/>
                </a:lnTo>
                <a:close/>
                <a:moveTo>
                  <a:pt x="324041" y="0"/>
                </a:moveTo>
                <a:lnTo>
                  <a:pt x="486061" y="0"/>
                </a:lnTo>
                <a:lnTo>
                  <a:pt x="486061" y="162020"/>
                </a:lnTo>
                <a:lnTo>
                  <a:pt x="1511999" y="162020"/>
                </a:lnTo>
                <a:lnTo>
                  <a:pt x="1511999" y="0"/>
                </a:lnTo>
                <a:lnTo>
                  <a:pt x="1674019" y="0"/>
                </a:lnTo>
                <a:lnTo>
                  <a:pt x="1674019" y="162020"/>
                </a:lnTo>
                <a:lnTo>
                  <a:pt x="1998059" y="162020"/>
                </a:lnTo>
                <a:lnTo>
                  <a:pt x="1998059" y="431959"/>
                </a:lnTo>
                <a:lnTo>
                  <a:pt x="0" y="431959"/>
                </a:lnTo>
                <a:lnTo>
                  <a:pt x="0" y="162020"/>
                </a:lnTo>
                <a:lnTo>
                  <a:pt x="324041" y="162020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8" name="Grafik 127">
            <a:extLst>
              <a:ext uri="{FF2B5EF4-FFF2-40B4-BE49-F238E27FC236}">
                <a16:creationId xmlns:a16="http://schemas.microsoft.com/office/drawing/2014/main" id="{F8D71810-F57D-490F-A456-B6235A2F4C72}"/>
              </a:ext>
            </a:extLst>
          </p:cNvPr>
          <p:cNvGrpSpPr/>
          <p:nvPr/>
        </p:nvGrpSpPr>
        <p:grpSpPr>
          <a:xfrm>
            <a:off x="5148020" y="3125624"/>
            <a:ext cx="1323022" cy="1323022"/>
            <a:chOff x="5056347" y="3091316"/>
            <a:chExt cx="1470024" cy="1470024"/>
          </a:xfrm>
        </p:grpSpPr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4740733A-B1A9-42A0-93DF-7A62076F2C49}"/>
                </a:ext>
              </a:extLst>
            </p:cNvPr>
            <p:cNvSpPr/>
            <p:nvPr/>
          </p:nvSpPr>
          <p:spPr>
            <a:xfrm>
              <a:off x="5056347" y="3091316"/>
              <a:ext cx="1470024" cy="1471494"/>
            </a:xfrm>
            <a:custGeom>
              <a:avLst/>
              <a:gdLst>
                <a:gd name="connsiteX0" fmla="*/ 1470024 w 1470024"/>
                <a:gd name="connsiteY0" fmla="*/ 735012 h 1471494"/>
                <a:gd name="connsiteX1" fmla="*/ 1300971 w 1470024"/>
                <a:gd name="connsiteY1" fmla="*/ 1203950 h 1471494"/>
                <a:gd name="connsiteX2" fmla="*/ 1293621 w 1470024"/>
                <a:gd name="connsiteY2" fmla="*/ 1212770 h 1471494"/>
                <a:gd name="connsiteX3" fmla="*/ 1285536 w 1470024"/>
                <a:gd name="connsiteY3" fmla="*/ 1222325 h 1471494"/>
                <a:gd name="connsiteX4" fmla="*/ 1265691 w 1470024"/>
                <a:gd name="connsiteY4" fmla="*/ 1244375 h 1471494"/>
                <a:gd name="connsiteX5" fmla="*/ 1265691 w 1470024"/>
                <a:gd name="connsiteY5" fmla="*/ 1244375 h 1471494"/>
                <a:gd name="connsiteX6" fmla="*/ 1253931 w 1470024"/>
                <a:gd name="connsiteY6" fmla="*/ 1256871 h 1471494"/>
                <a:gd name="connsiteX7" fmla="*/ 1237025 w 1470024"/>
                <a:gd name="connsiteY7" fmla="*/ 1273041 h 1471494"/>
                <a:gd name="connsiteX8" fmla="*/ 1128243 w 1470024"/>
                <a:gd name="connsiteY8" fmla="*/ 1356832 h 1471494"/>
                <a:gd name="connsiteX9" fmla="*/ 1114278 w 1470024"/>
                <a:gd name="connsiteY9" fmla="*/ 1365652 h 1471494"/>
                <a:gd name="connsiteX10" fmla="*/ 1048127 w 1470024"/>
                <a:gd name="connsiteY10" fmla="*/ 1400933 h 1471494"/>
                <a:gd name="connsiteX11" fmla="*/ 1038572 w 1470024"/>
                <a:gd name="connsiteY11" fmla="*/ 1405343 h 1471494"/>
                <a:gd name="connsiteX12" fmla="*/ 1031957 w 1470024"/>
                <a:gd name="connsiteY12" fmla="*/ 1408283 h 1471494"/>
                <a:gd name="connsiteX13" fmla="*/ 961396 w 1470024"/>
                <a:gd name="connsiteY13" fmla="*/ 1435479 h 1471494"/>
                <a:gd name="connsiteX14" fmla="*/ 952576 w 1470024"/>
                <a:gd name="connsiteY14" fmla="*/ 1438419 h 1471494"/>
                <a:gd name="connsiteX15" fmla="*/ 907740 w 1470024"/>
                <a:gd name="connsiteY15" fmla="*/ 1450914 h 1471494"/>
                <a:gd name="connsiteX16" fmla="*/ 841589 w 1470024"/>
                <a:gd name="connsiteY16" fmla="*/ 1463409 h 1471494"/>
                <a:gd name="connsiteX17" fmla="*/ 818803 w 1470024"/>
                <a:gd name="connsiteY17" fmla="*/ 1466349 h 1471494"/>
                <a:gd name="connsiteX18" fmla="*/ 808513 w 1470024"/>
                <a:gd name="connsiteY18" fmla="*/ 1467084 h 1471494"/>
                <a:gd name="connsiteX19" fmla="*/ 784258 w 1470024"/>
                <a:gd name="connsiteY19" fmla="*/ 1469289 h 1471494"/>
                <a:gd name="connsiteX20" fmla="*/ 763678 w 1470024"/>
                <a:gd name="connsiteY20" fmla="*/ 1470759 h 1471494"/>
                <a:gd name="connsiteX21" fmla="*/ 734277 w 1470024"/>
                <a:gd name="connsiteY21" fmla="*/ 1471494 h 1471494"/>
                <a:gd name="connsiteX22" fmla="*/ 730602 w 1470024"/>
                <a:gd name="connsiteY22" fmla="*/ 1471494 h 1471494"/>
                <a:gd name="connsiteX23" fmla="*/ 727662 w 1470024"/>
                <a:gd name="connsiteY23" fmla="*/ 1471494 h 1471494"/>
                <a:gd name="connsiteX24" fmla="*/ 693116 w 1470024"/>
                <a:gd name="connsiteY24" fmla="*/ 1470024 h 1471494"/>
                <a:gd name="connsiteX25" fmla="*/ 665186 w 1470024"/>
                <a:gd name="connsiteY25" fmla="*/ 1467819 h 1471494"/>
                <a:gd name="connsiteX26" fmla="*/ 626965 w 1470024"/>
                <a:gd name="connsiteY26" fmla="*/ 1463409 h 1471494"/>
                <a:gd name="connsiteX27" fmla="*/ 617410 w 1470024"/>
                <a:gd name="connsiteY27" fmla="*/ 1461939 h 1471494"/>
                <a:gd name="connsiteX28" fmla="*/ 586540 w 1470024"/>
                <a:gd name="connsiteY28" fmla="*/ 1456059 h 1471494"/>
                <a:gd name="connsiteX29" fmla="*/ 551259 w 1470024"/>
                <a:gd name="connsiteY29" fmla="*/ 1447974 h 1471494"/>
                <a:gd name="connsiteX30" fmla="*/ 544644 w 1470024"/>
                <a:gd name="connsiteY30" fmla="*/ 1446504 h 1471494"/>
                <a:gd name="connsiteX31" fmla="*/ 535089 w 1470024"/>
                <a:gd name="connsiteY31" fmla="*/ 1443564 h 1471494"/>
                <a:gd name="connsiteX32" fmla="*/ 471878 w 1470024"/>
                <a:gd name="connsiteY32" fmla="*/ 1422248 h 1471494"/>
                <a:gd name="connsiteX33" fmla="*/ 458648 w 1470024"/>
                <a:gd name="connsiteY33" fmla="*/ 1417103 h 1471494"/>
                <a:gd name="connsiteX34" fmla="*/ 449827 w 1470024"/>
                <a:gd name="connsiteY34" fmla="*/ 1413428 h 1471494"/>
                <a:gd name="connsiteX35" fmla="*/ 370446 w 1470024"/>
                <a:gd name="connsiteY35" fmla="*/ 1374473 h 1471494"/>
                <a:gd name="connsiteX36" fmla="*/ 361626 w 1470024"/>
                <a:gd name="connsiteY36" fmla="*/ 1369327 h 1471494"/>
                <a:gd name="connsiteX37" fmla="*/ 345456 w 1470024"/>
                <a:gd name="connsiteY37" fmla="*/ 1359772 h 1471494"/>
                <a:gd name="connsiteX38" fmla="*/ 341046 w 1470024"/>
                <a:gd name="connsiteY38" fmla="*/ 1356832 h 1471494"/>
                <a:gd name="connsiteX39" fmla="*/ 229324 w 1470024"/>
                <a:gd name="connsiteY39" fmla="*/ 1267896 h 1471494"/>
                <a:gd name="connsiteX40" fmla="*/ 222709 w 1470024"/>
                <a:gd name="connsiteY40" fmla="*/ 1261281 h 1471494"/>
                <a:gd name="connsiteX41" fmla="*/ 205803 w 1470024"/>
                <a:gd name="connsiteY41" fmla="*/ 1244375 h 1471494"/>
                <a:gd name="connsiteX42" fmla="*/ 183753 w 1470024"/>
                <a:gd name="connsiteY42" fmla="*/ 1220120 h 1471494"/>
                <a:gd name="connsiteX43" fmla="*/ 166848 w 1470024"/>
                <a:gd name="connsiteY43" fmla="*/ 1200275 h 1471494"/>
                <a:gd name="connsiteX44" fmla="*/ 160968 w 1470024"/>
                <a:gd name="connsiteY44" fmla="*/ 1192925 h 1471494"/>
                <a:gd name="connsiteX45" fmla="*/ 158028 w 1470024"/>
                <a:gd name="connsiteY45" fmla="*/ 1189250 h 1471494"/>
                <a:gd name="connsiteX46" fmla="*/ 0 w 1470024"/>
                <a:gd name="connsiteY46" fmla="*/ 735012 h 1471494"/>
                <a:gd name="connsiteX47" fmla="*/ 735012 w 1470024"/>
                <a:gd name="connsiteY47" fmla="*/ 0 h 1471494"/>
                <a:gd name="connsiteX48" fmla="*/ 1470024 w 1470024"/>
                <a:gd name="connsiteY48" fmla="*/ 735012 h 147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470024" h="1471494">
                  <a:moveTo>
                    <a:pt x="1470024" y="735012"/>
                  </a:moveTo>
                  <a:cubicBezTo>
                    <a:pt x="1470024" y="913620"/>
                    <a:pt x="1406813" y="1076793"/>
                    <a:pt x="1300971" y="1203950"/>
                  </a:cubicBezTo>
                  <a:cubicBezTo>
                    <a:pt x="1298766" y="1206890"/>
                    <a:pt x="1295826" y="1209830"/>
                    <a:pt x="1293621" y="1212770"/>
                  </a:cubicBezTo>
                  <a:cubicBezTo>
                    <a:pt x="1290681" y="1215710"/>
                    <a:pt x="1287741" y="1219385"/>
                    <a:pt x="1285536" y="1222325"/>
                  </a:cubicBezTo>
                  <a:cubicBezTo>
                    <a:pt x="1278921" y="1229675"/>
                    <a:pt x="1272306" y="1237025"/>
                    <a:pt x="1265691" y="1244375"/>
                  </a:cubicBezTo>
                  <a:cubicBezTo>
                    <a:pt x="1265691" y="1244375"/>
                    <a:pt x="1265691" y="1244375"/>
                    <a:pt x="1265691" y="1244375"/>
                  </a:cubicBezTo>
                  <a:cubicBezTo>
                    <a:pt x="1261281" y="1248785"/>
                    <a:pt x="1257606" y="1252460"/>
                    <a:pt x="1253931" y="1256871"/>
                  </a:cubicBezTo>
                  <a:cubicBezTo>
                    <a:pt x="1248785" y="1262751"/>
                    <a:pt x="1242905" y="1267896"/>
                    <a:pt x="1237025" y="1273041"/>
                  </a:cubicBezTo>
                  <a:cubicBezTo>
                    <a:pt x="1203215" y="1304646"/>
                    <a:pt x="1167199" y="1332577"/>
                    <a:pt x="1128243" y="1356832"/>
                  </a:cubicBezTo>
                  <a:cubicBezTo>
                    <a:pt x="1123833" y="1359772"/>
                    <a:pt x="1119423" y="1362712"/>
                    <a:pt x="1114278" y="1365652"/>
                  </a:cubicBezTo>
                  <a:cubicBezTo>
                    <a:pt x="1092963" y="1378883"/>
                    <a:pt x="1070913" y="1389908"/>
                    <a:pt x="1048127" y="1400933"/>
                  </a:cubicBezTo>
                  <a:cubicBezTo>
                    <a:pt x="1045187" y="1402403"/>
                    <a:pt x="1042247" y="1403873"/>
                    <a:pt x="1038572" y="1405343"/>
                  </a:cubicBezTo>
                  <a:cubicBezTo>
                    <a:pt x="1036367" y="1406078"/>
                    <a:pt x="1034162" y="1407548"/>
                    <a:pt x="1031957" y="1408283"/>
                  </a:cubicBezTo>
                  <a:cubicBezTo>
                    <a:pt x="1009172" y="1418573"/>
                    <a:pt x="985651" y="1427393"/>
                    <a:pt x="961396" y="1435479"/>
                  </a:cubicBezTo>
                  <a:cubicBezTo>
                    <a:pt x="958456" y="1436213"/>
                    <a:pt x="955516" y="1437684"/>
                    <a:pt x="952576" y="1438419"/>
                  </a:cubicBezTo>
                  <a:cubicBezTo>
                    <a:pt x="937875" y="1442829"/>
                    <a:pt x="923175" y="1447239"/>
                    <a:pt x="907740" y="1450914"/>
                  </a:cubicBezTo>
                  <a:cubicBezTo>
                    <a:pt x="886424" y="1456059"/>
                    <a:pt x="863639" y="1460469"/>
                    <a:pt x="841589" y="1463409"/>
                  </a:cubicBezTo>
                  <a:cubicBezTo>
                    <a:pt x="834239" y="1464144"/>
                    <a:pt x="826889" y="1465614"/>
                    <a:pt x="818803" y="1466349"/>
                  </a:cubicBezTo>
                  <a:cubicBezTo>
                    <a:pt x="815128" y="1467084"/>
                    <a:pt x="812188" y="1467084"/>
                    <a:pt x="808513" y="1467084"/>
                  </a:cubicBezTo>
                  <a:cubicBezTo>
                    <a:pt x="800428" y="1467819"/>
                    <a:pt x="792343" y="1468554"/>
                    <a:pt x="784258" y="1469289"/>
                  </a:cubicBezTo>
                  <a:cubicBezTo>
                    <a:pt x="777643" y="1470024"/>
                    <a:pt x="770293" y="1470024"/>
                    <a:pt x="763678" y="1470759"/>
                  </a:cubicBezTo>
                  <a:cubicBezTo>
                    <a:pt x="754122" y="1470759"/>
                    <a:pt x="744567" y="1471494"/>
                    <a:pt x="734277" y="1471494"/>
                  </a:cubicBezTo>
                  <a:cubicBezTo>
                    <a:pt x="732807" y="1471494"/>
                    <a:pt x="732072" y="1471494"/>
                    <a:pt x="730602" y="1471494"/>
                  </a:cubicBezTo>
                  <a:cubicBezTo>
                    <a:pt x="729867" y="1471494"/>
                    <a:pt x="728397" y="1471494"/>
                    <a:pt x="727662" y="1471494"/>
                  </a:cubicBezTo>
                  <a:cubicBezTo>
                    <a:pt x="715902" y="1471494"/>
                    <a:pt x="704142" y="1470759"/>
                    <a:pt x="693116" y="1470024"/>
                  </a:cubicBezTo>
                  <a:cubicBezTo>
                    <a:pt x="683561" y="1469289"/>
                    <a:pt x="674006" y="1468554"/>
                    <a:pt x="665186" y="1467819"/>
                  </a:cubicBezTo>
                  <a:cubicBezTo>
                    <a:pt x="652691" y="1466349"/>
                    <a:pt x="639460" y="1464879"/>
                    <a:pt x="626965" y="1463409"/>
                  </a:cubicBezTo>
                  <a:cubicBezTo>
                    <a:pt x="624025" y="1462674"/>
                    <a:pt x="620350" y="1462674"/>
                    <a:pt x="617410" y="1461939"/>
                  </a:cubicBezTo>
                  <a:cubicBezTo>
                    <a:pt x="607120" y="1460469"/>
                    <a:pt x="596830" y="1458264"/>
                    <a:pt x="586540" y="1456059"/>
                  </a:cubicBezTo>
                  <a:cubicBezTo>
                    <a:pt x="574779" y="1453854"/>
                    <a:pt x="563019" y="1450914"/>
                    <a:pt x="551259" y="1447974"/>
                  </a:cubicBezTo>
                  <a:cubicBezTo>
                    <a:pt x="549054" y="1447239"/>
                    <a:pt x="546849" y="1446504"/>
                    <a:pt x="544644" y="1446504"/>
                  </a:cubicBezTo>
                  <a:cubicBezTo>
                    <a:pt x="541704" y="1445769"/>
                    <a:pt x="538764" y="1445034"/>
                    <a:pt x="535089" y="1443564"/>
                  </a:cubicBezTo>
                  <a:cubicBezTo>
                    <a:pt x="513773" y="1437684"/>
                    <a:pt x="492458" y="1430333"/>
                    <a:pt x="471878" y="1422248"/>
                  </a:cubicBezTo>
                  <a:cubicBezTo>
                    <a:pt x="467468" y="1420778"/>
                    <a:pt x="463058" y="1418573"/>
                    <a:pt x="458648" y="1417103"/>
                  </a:cubicBezTo>
                  <a:cubicBezTo>
                    <a:pt x="455707" y="1415633"/>
                    <a:pt x="452767" y="1414898"/>
                    <a:pt x="449827" y="1413428"/>
                  </a:cubicBezTo>
                  <a:cubicBezTo>
                    <a:pt x="422632" y="1401668"/>
                    <a:pt x="395436" y="1389173"/>
                    <a:pt x="370446" y="1374473"/>
                  </a:cubicBezTo>
                  <a:cubicBezTo>
                    <a:pt x="367506" y="1373003"/>
                    <a:pt x="364566" y="1370797"/>
                    <a:pt x="361626" y="1369327"/>
                  </a:cubicBezTo>
                  <a:cubicBezTo>
                    <a:pt x="356481" y="1366387"/>
                    <a:pt x="350601" y="1362712"/>
                    <a:pt x="345456" y="1359772"/>
                  </a:cubicBezTo>
                  <a:cubicBezTo>
                    <a:pt x="343986" y="1359037"/>
                    <a:pt x="342516" y="1357567"/>
                    <a:pt x="341046" y="1356832"/>
                  </a:cubicBezTo>
                  <a:cubicBezTo>
                    <a:pt x="301355" y="1330372"/>
                    <a:pt x="263869" y="1300971"/>
                    <a:pt x="229324" y="1267896"/>
                  </a:cubicBezTo>
                  <a:cubicBezTo>
                    <a:pt x="227119" y="1265691"/>
                    <a:pt x="224914" y="1263486"/>
                    <a:pt x="222709" y="1261281"/>
                  </a:cubicBezTo>
                  <a:cubicBezTo>
                    <a:pt x="216829" y="1255401"/>
                    <a:pt x="211683" y="1250256"/>
                    <a:pt x="205803" y="1244375"/>
                  </a:cubicBezTo>
                  <a:cubicBezTo>
                    <a:pt x="198453" y="1236290"/>
                    <a:pt x="190368" y="1228205"/>
                    <a:pt x="183753" y="1220120"/>
                  </a:cubicBezTo>
                  <a:cubicBezTo>
                    <a:pt x="177873" y="1213505"/>
                    <a:pt x="171993" y="1206890"/>
                    <a:pt x="166848" y="1200275"/>
                  </a:cubicBezTo>
                  <a:cubicBezTo>
                    <a:pt x="164643" y="1198070"/>
                    <a:pt x="163173" y="1195865"/>
                    <a:pt x="160968" y="1192925"/>
                  </a:cubicBezTo>
                  <a:cubicBezTo>
                    <a:pt x="160233" y="1191455"/>
                    <a:pt x="158763" y="1190720"/>
                    <a:pt x="158028" y="1189250"/>
                  </a:cubicBezTo>
                  <a:cubicBezTo>
                    <a:pt x="58801" y="1064297"/>
                    <a:pt x="0" y="907005"/>
                    <a:pt x="0" y="735012"/>
                  </a:cubicBezTo>
                  <a:cubicBezTo>
                    <a:pt x="0" y="329285"/>
                    <a:pt x="329285" y="0"/>
                    <a:pt x="735012" y="0"/>
                  </a:cubicBezTo>
                  <a:cubicBezTo>
                    <a:pt x="1140739" y="0"/>
                    <a:pt x="1470024" y="329285"/>
                    <a:pt x="1470024" y="735012"/>
                  </a:cubicBezTo>
                  <a:close/>
                </a:path>
              </a:pathLst>
            </a:custGeom>
            <a:solidFill>
              <a:srgbClr val="FFFFFF"/>
            </a:solidFill>
            <a:ln w="73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20" name="Grafik 127">
              <a:extLst>
                <a:ext uri="{FF2B5EF4-FFF2-40B4-BE49-F238E27FC236}">
                  <a16:creationId xmlns:a16="http://schemas.microsoft.com/office/drawing/2014/main" id="{F8D71810-F57D-490F-A456-B6235A2F4C72}"/>
                </a:ext>
              </a:extLst>
            </p:cNvPr>
            <p:cNvGrpSpPr/>
            <p:nvPr/>
          </p:nvGrpSpPr>
          <p:grpSpPr>
            <a:xfrm>
              <a:off x="5240100" y="3331135"/>
              <a:ext cx="1080467" cy="1230939"/>
              <a:chOff x="5240100" y="3331135"/>
              <a:chExt cx="1080467" cy="1230939"/>
            </a:xfrm>
          </p:grpSpPr>
          <p:sp>
            <p:nvSpPr>
              <p:cNvPr id="221" name="Freihandform: Form 220">
                <a:extLst>
                  <a:ext uri="{FF2B5EF4-FFF2-40B4-BE49-F238E27FC236}">
                    <a16:creationId xmlns:a16="http://schemas.microsoft.com/office/drawing/2014/main" id="{56D793D2-24DC-4AB9-B6B6-A0F58002D4B2}"/>
                  </a:ext>
                </a:extLst>
              </p:cNvPr>
              <p:cNvSpPr/>
              <p:nvPr/>
            </p:nvSpPr>
            <p:spPr>
              <a:xfrm>
                <a:off x="5603195" y="3932904"/>
                <a:ext cx="341780" cy="373386"/>
              </a:xfrm>
              <a:custGeom>
                <a:avLst/>
                <a:gdLst>
                  <a:gd name="connsiteX0" fmla="*/ 182283 w 341780"/>
                  <a:gd name="connsiteY0" fmla="*/ 373386 h 373386"/>
                  <a:gd name="connsiteX1" fmla="*/ 155823 w 341780"/>
                  <a:gd name="connsiteY1" fmla="*/ 373386 h 373386"/>
                  <a:gd name="connsiteX2" fmla="*/ 0 w 341780"/>
                  <a:gd name="connsiteY2" fmla="*/ 228589 h 373386"/>
                  <a:gd name="connsiteX3" fmla="*/ 8820 w 341780"/>
                  <a:gd name="connsiteY3" fmla="*/ 735 h 373386"/>
                  <a:gd name="connsiteX4" fmla="*/ 339576 w 341780"/>
                  <a:gd name="connsiteY4" fmla="*/ 0 h 373386"/>
                  <a:gd name="connsiteX5" fmla="*/ 341781 w 341780"/>
                  <a:gd name="connsiteY5" fmla="*/ 218299 h 373386"/>
                  <a:gd name="connsiteX6" fmla="*/ 182283 w 341780"/>
                  <a:gd name="connsiteY6" fmla="*/ 373386 h 373386"/>
                  <a:gd name="connsiteX7" fmla="*/ 182283 w 341780"/>
                  <a:gd name="connsiteY7" fmla="*/ 373386 h 373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1780" h="373386">
                    <a:moveTo>
                      <a:pt x="182283" y="373386"/>
                    </a:moveTo>
                    <a:lnTo>
                      <a:pt x="155823" y="373386"/>
                    </a:lnTo>
                    <a:cubicBezTo>
                      <a:pt x="75706" y="373386"/>
                      <a:pt x="0" y="308705"/>
                      <a:pt x="0" y="228589"/>
                    </a:cubicBezTo>
                    <a:lnTo>
                      <a:pt x="8820" y="735"/>
                    </a:lnTo>
                    <a:lnTo>
                      <a:pt x="339576" y="0"/>
                    </a:lnTo>
                    <a:lnTo>
                      <a:pt x="341781" y="218299"/>
                    </a:lnTo>
                    <a:cubicBezTo>
                      <a:pt x="341046" y="299150"/>
                      <a:pt x="262399" y="373386"/>
                      <a:pt x="182283" y="373386"/>
                    </a:cubicBezTo>
                    <a:lnTo>
                      <a:pt x="182283" y="373386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Freihandform: Form 221">
                <a:extLst>
                  <a:ext uri="{FF2B5EF4-FFF2-40B4-BE49-F238E27FC236}">
                    <a16:creationId xmlns:a16="http://schemas.microsoft.com/office/drawing/2014/main" id="{2B3E36A7-58AC-48CA-9600-00CBCC9C4FFA}"/>
                  </a:ext>
                </a:extLst>
              </p:cNvPr>
              <p:cNvSpPr/>
              <p:nvPr/>
            </p:nvSpPr>
            <p:spPr>
              <a:xfrm>
                <a:off x="5612016" y="3841763"/>
                <a:ext cx="333004" cy="340578"/>
              </a:xfrm>
              <a:custGeom>
                <a:avLst/>
                <a:gdLst>
                  <a:gd name="connsiteX0" fmla="*/ 0 w 333004"/>
                  <a:gd name="connsiteY0" fmla="*/ 127892 h 340578"/>
                  <a:gd name="connsiteX1" fmla="*/ 1470 w 333004"/>
                  <a:gd name="connsiteY1" fmla="*/ 5880 h 340578"/>
                  <a:gd name="connsiteX2" fmla="*/ 330020 w 333004"/>
                  <a:gd name="connsiteY2" fmla="*/ 0 h 340578"/>
                  <a:gd name="connsiteX3" fmla="*/ 332960 w 333004"/>
                  <a:gd name="connsiteY3" fmla="*/ 331490 h 340578"/>
                  <a:gd name="connsiteX4" fmla="*/ 0 w 333004"/>
                  <a:gd name="connsiteY4" fmla="*/ 127892 h 340578"/>
                  <a:gd name="connsiteX5" fmla="*/ 0 w 333004"/>
                  <a:gd name="connsiteY5" fmla="*/ 127892 h 340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3004" h="340578">
                    <a:moveTo>
                      <a:pt x="0" y="127892"/>
                    </a:moveTo>
                    <a:lnTo>
                      <a:pt x="1470" y="5880"/>
                    </a:lnTo>
                    <a:lnTo>
                      <a:pt x="330020" y="0"/>
                    </a:lnTo>
                    <a:lnTo>
                      <a:pt x="332960" y="331490"/>
                    </a:lnTo>
                    <a:cubicBezTo>
                      <a:pt x="337371" y="374856"/>
                      <a:pt x="7350" y="255784"/>
                      <a:pt x="0" y="127892"/>
                    </a:cubicBezTo>
                    <a:lnTo>
                      <a:pt x="0" y="127892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Freihandform: Form 222">
                <a:extLst>
                  <a:ext uri="{FF2B5EF4-FFF2-40B4-BE49-F238E27FC236}">
                    <a16:creationId xmlns:a16="http://schemas.microsoft.com/office/drawing/2014/main" id="{4222AE48-36B8-4670-8D5E-7C5470ED85C9}"/>
                  </a:ext>
                </a:extLst>
              </p:cNvPr>
              <p:cNvSpPr/>
              <p:nvPr/>
            </p:nvSpPr>
            <p:spPr>
              <a:xfrm>
                <a:off x="5481592" y="3342963"/>
                <a:ext cx="585298" cy="734958"/>
              </a:xfrm>
              <a:custGeom>
                <a:avLst/>
                <a:gdLst>
                  <a:gd name="connsiteX0" fmla="*/ 578781 w 585298"/>
                  <a:gd name="connsiteY0" fmla="*/ 308432 h 734958"/>
                  <a:gd name="connsiteX1" fmla="*/ 532475 w 585298"/>
                  <a:gd name="connsiteY1" fmla="*/ 329747 h 734958"/>
                  <a:gd name="connsiteX2" fmla="*/ 530270 w 585298"/>
                  <a:gd name="connsiteY2" fmla="*/ 259921 h 734958"/>
                  <a:gd name="connsiteX3" fmla="*/ 527330 w 585298"/>
                  <a:gd name="connsiteY3" fmla="*/ 145259 h 734958"/>
                  <a:gd name="connsiteX4" fmla="*/ 481760 w 585298"/>
                  <a:gd name="connsiteY4" fmla="*/ 62938 h 734958"/>
                  <a:gd name="connsiteX5" fmla="*/ 342842 w 585298"/>
                  <a:gd name="connsiteY5" fmla="*/ 3402 h 734958"/>
                  <a:gd name="connsiteX6" fmla="*/ 184815 w 585298"/>
                  <a:gd name="connsiteY6" fmla="*/ 18102 h 734958"/>
                  <a:gd name="connsiteX7" fmla="*/ 184815 w 585298"/>
                  <a:gd name="connsiteY7" fmla="*/ 18102 h 734958"/>
                  <a:gd name="connsiteX8" fmla="*/ 178935 w 585298"/>
                  <a:gd name="connsiteY8" fmla="*/ 20307 h 734958"/>
                  <a:gd name="connsiteX9" fmla="*/ 176730 w 585298"/>
                  <a:gd name="connsiteY9" fmla="*/ 20307 h 734958"/>
                  <a:gd name="connsiteX10" fmla="*/ 173055 w 585298"/>
                  <a:gd name="connsiteY10" fmla="*/ 21777 h 734958"/>
                  <a:gd name="connsiteX11" fmla="*/ 170114 w 585298"/>
                  <a:gd name="connsiteY11" fmla="*/ 23247 h 734958"/>
                  <a:gd name="connsiteX12" fmla="*/ 167174 w 585298"/>
                  <a:gd name="connsiteY12" fmla="*/ 24717 h 734958"/>
                  <a:gd name="connsiteX13" fmla="*/ 164234 w 585298"/>
                  <a:gd name="connsiteY13" fmla="*/ 26187 h 734958"/>
                  <a:gd name="connsiteX14" fmla="*/ 161294 w 585298"/>
                  <a:gd name="connsiteY14" fmla="*/ 27657 h 734958"/>
                  <a:gd name="connsiteX15" fmla="*/ 159089 w 585298"/>
                  <a:gd name="connsiteY15" fmla="*/ 28392 h 734958"/>
                  <a:gd name="connsiteX16" fmla="*/ 155414 w 585298"/>
                  <a:gd name="connsiteY16" fmla="*/ 29862 h 734958"/>
                  <a:gd name="connsiteX17" fmla="*/ 154679 w 585298"/>
                  <a:gd name="connsiteY17" fmla="*/ 29862 h 734958"/>
                  <a:gd name="connsiteX18" fmla="*/ 103963 w 585298"/>
                  <a:gd name="connsiteY18" fmla="*/ 62938 h 734958"/>
                  <a:gd name="connsiteX19" fmla="*/ 103963 w 585298"/>
                  <a:gd name="connsiteY19" fmla="*/ 62938 h 734958"/>
                  <a:gd name="connsiteX20" fmla="*/ 58393 w 585298"/>
                  <a:gd name="connsiteY20" fmla="*/ 145259 h 734958"/>
                  <a:gd name="connsiteX21" fmla="*/ 55453 w 585298"/>
                  <a:gd name="connsiteY21" fmla="*/ 260656 h 734958"/>
                  <a:gd name="connsiteX22" fmla="*/ 53248 w 585298"/>
                  <a:gd name="connsiteY22" fmla="*/ 330482 h 734958"/>
                  <a:gd name="connsiteX23" fmla="*/ 6207 w 585298"/>
                  <a:gd name="connsiteY23" fmla="*/ 308432 h 734958"/>
                  <a:gd name="connsiteX24" fmla="*/ 1797 w 585298"/>
                  <a:gd name="connsiteY24" fmla="*/ 345182 h 734958"/>
                  <a:gd name="connsiteX25" fmla="*/ 34872 w 585298"/>
                  <a:gd name="connsiteY25" fmla="*/ 451024 h 734958"/>
                  <a:gd name="connsiteX26" fmla="*/ 81178 w 585298"/>
                  <a:gd name="connsiteY26" fmla="*/ 515705 h 734958"/>
                  <a:gd name="connsiteX27" fmla="*/ 95143 w 585298"/>
                  <a:gd name="connsiteY27" fmla="*/ 612727 h 734958"/>
                  <a:gd name="connsiteX28" fmla="*/ 166439 w 585298"/>
                  <a:gd name="connsiteY28" fmla="*/ 676673 h 734958"/>
                  <a:gd name="connsiteX29" fmla="*/ 220095 w 585298"/>
                  <a:gd name="connsiteY29" fmla="*/ 726654 h 734958"/>
                  <a:gd name="connsiteX30" fmla="*/ 293597 w 585298"/>
                  <a:gd name="connsiteY30" fmla="*/ 734739 h 734958"/>
                  <a:gd name="connsiteX31" fmla="*/ 296537 w 585298"/>
                  <a:gd name="connsiteY31" fmla="*/ 734739 h 734958"/>
                  <a:gd name="connsiteX32" fmla="*/ 365628 w 585298"/>
                  <a:gd name="connsiteY32" fmla="*/ 725919 h 734958"/>
                  <a:gd name="connsiteX33" fmla="*/ 419284 w 585298"/>
                  <a:gd name="connsiteY33" fmla="*/ 675203 h 734958"/>
                  <a:gd name="connsiteX34" fmla="*/ 489845 w 585298"/>
                  <a:gd name="connsiteY34" fmla="*/ 610522 h 734958"/>
                  <a:gd name="connsiteX35" fmla="*/ 503075 w 585298"/>
                  <a:gd name="connsiteY35" fmla="*/ 515705 h 734958"/>
                  <a:gd name="connsiteX36" fmla="*/ 549381 w 585298"/>
                  <a:gd name="connsiteY36" fmla="*/ 451024 h 734958"/>
                  <a:gd name="connsiteX37" fmla="*/ 582456 w 585298"/>
                  <a:gd name="connsiteY37" fmla="*/ 345182 h 734958"/>
                  <a:gd name="connsiteX38" fmla="*/ 578781 w 585298"/>
                  <a:gd name="connsiteY38" fmla="*/ 308432 h 734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85298" h="734958">
                    <a:moveTo>
                      <a:pt x="578781" y="308432"/>
                    </a:moveTo>
                    <a:cubicBezTo>
                      <a:pt x="565551" y="298877"/>
                      <a:pt x="552321" y="304022"/>
                      <a:pt x="532475" y="329747"/>
                    </a:cubicBezTo>
                    <a:cubicBezTo>
                      <a:pt x="531005" y="307697"/>
                      <a:pt x="529535" y="284176"/>
                      <a:pt x="530270" y="259921"/>
                    </a:cubicBezTo>
                    <a:cubicBezTo>
                      <a:pt x="531740" y="214350"/>
                      <a:pt x="532475" y="176865"/>
                      <a:pt x="527330" y="145259"/>
                    </a:cubicBezTo>
                    <a:cubicBezTo>
                      <a:pt x="521450" y="112919"/>
                      <a:pt x="508955" y="86458"/>
                      <a:pt x="481760" y="62938"/>
                    </a:cubicBezTo>
                    <a:cubicBezTo>
                      <a:pt x="445009" y="30597"/>
                      <a:pt x="395028" y="10752"/>
                      <a:pt x="342842" y="3402"/>
                    </a:cubicBezTo>
                    <a:cubicBezTo>
                      <a:pt x="289921" y="-3948"/>
                      <a:pt x="234060" y="462"/>
                      <a:pt x="184815" y="18102"/>
                    </a:cubicBezTo>
                    <a:cubicBezTo>
                      <a:pt x="184815" y="18102"/>
                      <a:pt x="184815" y="18102"/>
                      <a:pt x="184815" y="18102"/>
                    </a:cubicBezTo>
                    <a:cubicBezTo>
                      <a:pt x="182610" y="18837"/>
                      <a:pt x="181140" y="19572"/>
                      <a:pt x="178935" y="20307"/>
                    </a:cubicBezTo>
                    <a:cubicBezTo>
                      <a:pt x="178200" y="20307"/>
                      <a:pt x="177465" y="20307"/>
                      <a:pt x="176730" y="20307"/>
                    </a:cubicBezTo>
                    <a:cubicBezTo>
                      <a:pt x="175260" y="21042"/>
                      <a:pt x="173790" y="21042"/>
                      <a:pt x="173055" y="21777"/>
                    </a:cubicBezTo>
                    <a:cubicBezTo>
                      <a:pt x="172320" y="22512"/>
                      <a:pt x="170849" y="22512"/>
                      <a:pt x="170114" y="23247"/>
                    </a:cubicBezTo>
                    <a:cubicBezTo>
                      <a:pt x="169379" y="23247"/>
                      <a:pt x="167909" y="23982"/>
                      <a:pt x="167174" y="24717"/>
                    </a:cubicBezTo>
                    <a:cubicBezTo>
                      <a:pt x="166439" y="25452"/>
                      <a:pt x="164969" y="25452"/>
                      <a:pt x="164234" y="26187"/>
                    </a:cubicBezTo>
                    <a:cubicBezTo>
                      <a:pt x="163499" y="26922"/>
                      <a:pt x="162029" y="26922"/>
                      <a:pt x="161294" y="27657"/>
                    </a:cubicBezTo>
                    <a:cubicBezTo>
                      <a:pt x="160559" y="28392"/>
                      <a:pt x="159824" y="28392"/>
                      <a:pt x="159089" y="28392"/>
                    </a:cubicBezTo>
                    <a:cubicBezTo>
                      <a:pt x="157619" y="29127"/>
                      <a:pt x="156884" y="29862"/>
                      <a:pt x="155414" y="29862"/>
                    </a:cubicBezTo>
                    <a:cubicBezTo>
                      <a:pt x="155414" y="29862"/>
                      <a:pt x="154679" y="29862"/>
                      <a:pt x="154679" y="29862"/>
                    </a:cubicBezTo>
                    <a:cubicBezTo>
                      <a:pt x="136304" y="38682"/>
                      <a:pt x="119399" y="49708"/>
                      <a:pt x="103963" y="62938"/>
                    </a:cubicBezTo>
                    <a:lnTo>
                      <a:pt x="103963" y="62938"/>
                    </a:lnTo>
                    <a:cubicBezTo>
                      <a:pt x="76768" y="86458"/>
                      <a:pt x="64273" y="112919"/>
                      <a:pt x="58393" y="145259"/>
                    </a:cubicBezTo>
                    <a:cubicBezTo>
                      <a:pt x="52513" y="177600"/>
                      <a:pt x="53983" y="215085"/>
                      <a:pt x="55453" y="260656"/>
                    </a:cubicBezTo>
                    <a:cubicBezTo>
                      <a:pt x="56188" y="284911"/>
                      <a:pt x="54718" y="307697"/>
                      <a:pt x="53248" y="330482"/>
                    </a:cubicBezTo>
                    <a:cubicBezTo>
                      <a:pt x="33402" y="304022"/>
                      <a:pt x="19437" y="298877"/>
                      <a:pt x="6207" y="308432"/>
                    </a:cubicBezTo>
                    <a:cubicBezTo>
                      <a:pt x="327" y="312842"/>
                      <a:pt x="-1878" y="327542"/>
                      <a:pt x="1797" y="345182"/>
                    </a:cubicBezTo>
                    <a:cubicBezTo>
                      <a:pt x="8412" y="376788"/>
                      <a:pt x="28257" y="423829"/>
                      <a:pt x="34872" y="451024"/>
                    </a:cubicBezTo>
                    <a:cubicBezTo>
                      <a:pt x="39282" y="469399"/>
                      <a:pt x="61333" y="525995"/>
                      <a:pt x="81178" y="515705"/>
                    </a:cubicBezTo>
                    <a:cubicBezTo>
                      <a:pt x="86323" y="555396"/>
                      <a:pt x="83383" y="585531"/>
                      <a:pt x="95143" y="612727"/>
                    </a:cubicBezTo>
                    <a:cubicBezTo>
                      <a:pt x="104698" y="635512"/>
                      <a:pt x="144389" y="656092"/>
                      <a:pt x="166439" y="676673"/>
                    </a:cubicBezTo>
                    <a:cubicBezTo>
                      <a:pt x="192165" y="700928"/>
                      <a:pt x="201720" y="718568"/>
                      <a:pt x="220095" y="726654"/>
                    </a:cubicBezTo>
                    <a:cubicBezTo>
                      <a:pt x="239941" y="734739"/>
                      <a:pt x="257581" y="735474"/>
                      <a:pt x="293597" y="734739"/>
                    </a:cubicBezTo>
                    <a:cubicBezTo>
                      <a:pt x="294332" y="734739"/>
                      <a:pt x="295802" y="734739"/>
                      <a:pt x="296537" y="734739"/>
                    </a:cubicBezTo>
                    <a:cubicBezTo>
                      <a:pt x="329612" y="734739"/>
                      <a:pt x="347252" y="733269"/>
                      <a:pt x="365628" y="725919"/>
                    </a:cubicBezTo>
                    <a:cubicBezTo>
                      <a:pt x="384738" y="717833"/>
                      <a:pt x="393558" y="699458"/>
                      <a:pt x="419284" y="675203"/>
                    </a:cubicBezTo>
                    <a:cubicBezTo>
                      <a:pt x="441334" y="654622"/>
                      <a:pt x="480290" y="633307"/>
                      <a:pt x="489845" y="610522"/>
                    </a:cubicBezTo>
                    <a:cubicBezTo>
                      <a:pt x="501605" y="583326"/>
                      <a:pt x="498665" y="554661"/>
                      <a:pt x="503075" y="515705"/>
                    </a:cubicBezTo>
                    <a:cubicBezTo>
                      <a:pt x="523655" y="525260"/>
                      <a:pt x="544971" y="469399"/>
                      <a:pt x="549381" y="451024"/>
                    </a:cubicBezTo>
                    <a:cubicBezTo>
                      <a:pt x="555996" y="423829"/>
                      <a:pt x="575841" y="376788"/>
                      <a:pt x="582456" y="345182"/>
                    </a:cubicBezTo>
                    <a:cubicBezTo>
                      <a:pt x="587601" y="327542"/>
                      <a:pt x="585396" y="312842"/>
                      <a:pt x="578781" y="308432"/>
                    </a:cubicBez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Freihandform: Form 223">
                <a:extLst>
                  <a:ext uri="{FF2B5EF4-FFF2-40B4-BE49-F238E27FC236}">
                    <a16:creationId xmlns:a16="http://schemas.microsoft.com/office/drawing/2014/main" id="{887CD5E3-FB92-4A27-BD8E-2CA1F5C70A09}"/>
                  </a:ext>
                </a:extLst>
              </p:cNvPr>
              <p:cNvSpPr/>
              <p:nvPr/>
            </p:nvSpPr>
            <p:spPr>
              <a:xfrm>
                <a:off x="5816740" y="3670433"/>
                <a:ext cx="120482" cy="52044"/>
              </a:xfrm>
              <a:custGeom>
                <a:avLst/>
                <a:gdLst>
                  <a:gd name="connsiteX0" fmla="*/ 116476 w 120482"/>
                  <a:gd name="connsiteY0" fmla="*/ 807 h 52044"/>
                  <a:gd name="connsiteX1" fmla="*/ 109126 w 120482"/>
                  <a:gd name="connsiteY1" fmla="*/ 14772 h 52044"/>
                  <a:gd name="connsiteX2" fmla="*/ 344 w 120482"/>
                  <a:gd name="connsiteY2" fmla="*/ 50788 h 52044"/>
                  <a:gd name="connsiteX3" fmla="*/ 3284 w 120482"/>
                  <a:gd name="connsiteY3" fmla="*/ 4482 h 52044"/>
                  <a:gd name="connsiteX4" fmla="*/ 12104 w 120482"/>
                  <a:gd name="connsiteY4" fmla="*/ 72 h 52044"/>
                  <a:gd name="connsiteX5" fmla="*/ 116476 w 120482"/>
                  <a:gd name="connsiteY5" fmla="*/ 807 h 52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482" h="52044">
                    <a:moveTo>
                      <a:pt x="116476" y="807"/>
                    </a:moveTo>
                    <a:cubicBezTo>
                      <a:pt x="123826" y="-663"/>
                      <a:pt x="120886" y="16242"/>
                      <a:pt x="109126" y="14772"/>
                    </a:cubicBezTo>
                    <a:cubicBezTo>
                      <a:pt x="13574" y="4482"/>
                      <a:pt x="5489" y="61078"/>
                      <a:pt x="344" y="50788"/>
                    </a:cubicBezTo>
                    <a:cubicBezTo>
                      <a:pt x="-1126" y="47113"/>
                      <a:pt x="2549" y="9627"/>
                      <a:pt x="3284" y="4482"/>
                    </a:cubicBezTo>
                    <a:cubicBezTo>
                      <a:pt x="3284" y="4482"/>
                      <a:pt x="8429" y="-663"/>
                      <a:pt x="12104" y="72"/>
                    </a:cubicBezTo>
                    <a:lnTo>
                      <a:pt x="116476" y="807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Freihandform: Form 224">
                <a:extLst>
                  <a:ext uri="{FF2B5EF4-FFF2-40B4-BE49-F238E27FC236}">
                    <a16:creationId xmlns:a16="http://schemas.microsoft.com/office/drawing/2014/main" id="{D89C3B39-C0A4-42B6-B55C-0433BBDB54B9}"/>
                  </a:ext>
                </a:extLst>
              </p:cNvPr>
              <p:cNvSpPr/>
              <p:nvPr/>
            </p:nvSpPr>
            <p:spPr>
              <a:xfrm>
                <a:off x="5604895" y="3660586"/>
                <a:ext cx="124619" cy="88888"/>
              </a:xfrm>
              <a:custGeom>
                <a:avLst/>
                <a:gdLst>
                  <a:gd name="connsiteX0" fmla="*/ 111492 w 124619"/>
                  <a:gd name="connsiteY0" fmla="*/ 11389 h 88888"/>
                  <a:gd name="connsiteX1" fmla="*/ 121782 w 124619"/>
                  <a:gd name="connsiteY1" fmla="*/ 86361 h 88888"/>
                  <a:gd name="connsiteX2" fmla="*/ 83562 w 124619"/>
                  <a:gd name="connsiteY2" fmla="*/ 37850 h 88888"/>
                  <a:gd name="connsiteX3" fmla="*/ 505 w 124619"/>
                  <a:gd name="connsiteY3" fmla="*/ 23885 h 88888"/>
                  <a:gd name="connsiteX4" fmla="*/ 1240 w 124619"/>
                  <a:gd name="connsiteY4" fmla="*/ 9919 h 88888"/>
                  <a:gd name="connsiteX5" fmla="*/ 36521 w 124619"/>
                  <a:gd name="connsiteY5" fmla="*/ 364 h 88888"/>
                  <a:gd name="connsiteX6" fmla="*/ 111492 w 124619"/>
                  <a:gd name="connsiteY6" fmla="*/ 11389 h 88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619" h="88888">
                    <a:moveTo>
                      <a:pt x="111492" y="11389"/>
                    </a:moveTo>
                    <a:cubicBezTo>
                      <a:pt x="118842" y="11389"/>
                      <a:pt x="129867" y="77540"/>
                      <a:pt x="121782" y="86361"/>
                    </a:cubicBezTo>
                    <a:cubicBezTo>
                      <a:pt x="108552" y="100326"/>
                      <a:pt x="124722" y="52550"/>
                      <a:pt x="83562" y="37850"/>
                    </a:cubicBezTo>
                    <a:cubicBezTo>
                      <a:pt x="39461" y="22415"/>
                      <a:pt x="4180" y="34910"/>
                      <a:pt x="505" y="23885"/>
                    </a:cubicBezTo>
                    <a:cubicBezTo>
                      <a:pt x="-965" y="20209"/>
                      <a:pt x="1240" y="9919"/>
                      <a:pt x="1240" y="9919"/>
                    </a:cubicBezTo>
                    <a:cubicBezTo>
                      <a:pt x="3445" y="1834"/>
                      <a:pt x="32846" y="-1106"/>
                      <a:pt x="36521" y="364"/>
                    </a:cubicBezTo>
                    <a:lnTo>
                      <a:pt x="111492" y="11389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Freihandform: Form 225">
                <a:extLst>
                  <a:ext uri="{FF2B5EF4-FFF2-40B4-BE49-F238E27FC236}">
                    <a16:creationId xmlns:a16="http://schemas.microsoft.com/office/drawing/2014/main" id="{671204E5-1766-42B2-AB34-C392B55F7C2A}"/>
                  </a:ext>
                </a:extLst>
              </p:cNvPr>
              <p:cNvSpPr/>
              <p:nvPr/>
            </p:nvSpPr>
            <p:spPr>
              <a:xfrm>
                <a:off x="5844279" y="3694760"/>
                <a:ext cx="45570" cy="30870"/>
              </a:xfrm>
              <a:custGeom>
                <a:avLst/>
                <a:gdLst>
                  <a:gd name="connsiteX0" fmla="*/ 45571 w 45570"/>
                  <a:gd name="connsiteY0" fmla="*/ 15435 h 30870"/>
                  <a:gd name="connsiteX1" fmla="*/ 22785 w 45570"/>
                  <a:gd name="connsiteY1" fmla="*/ 0 h 30870"/>
                  <a:gd name="connsiteX2" fmla="*/ 0 w 45570"/>
                  <a:gd name="connsiteY2" fmla="*/ 15435 h 30870"/>
                  <a:gd name="connsiteX3" fmla="*/ 22785 w 45570"/>
                  <a:gd name="connsiteY3" fmla="*/ 30871 h 30870"/>
                  <a:gd name="connsiteX4" fmla="*/ 45571 w 45570"/>
                  <a:gd name="connsiteY4" fmla="*/ 15435 h 30870"/>
                  <a:gd name="connsiteX5" fmla="*/ 45571 w 45570"/>
                  <a:gd name="connsiteY5" fmla="*/ 15435 h 30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570" h="30870">
                    <a:moveTo>
                      <a:pt x="45571" y="15435"/>
                    </a:moveTo>
                    <a:cubicBezTo>
                      <a:pt x="45571" y="6615"/>
                      <a:pt x="35281" y="0"/>
                      <a:pt x="22785" y="0"/>
                    </a:cubicBezTo>
                    <a:cubicBezTo>
                      <a:pt x="10290" y="0"/>
                      <a:pt x="0" y="6615"/>
                      <a:pt x="0" y="15435"/>
                    </a:cubicBezTo>
                    <a:cubicBezTo>
                      <a:pt x="0" y="24255"/>
                      <a:pt x="10290" y="30871"/>
                      <a:pt x="22785" y="30871"/>
                    </a:cubicBezTo>
                    <a:cubicBezTo>
                      <a:pt x="35281" y="30871"/>
                      <a:pt x="45571" y="24255"/>
                      <a:pt x="45571" y="15435"/>
                    </a:cubicBezTo>
                    <a:lnTo>
                      <a:pt x="45571" y="15435"/>
                    </a:lnTo>
                    <a:close/>
                  </a:path>
                </a:pathLst>
              </a:custGeom>
              <a:solidFill>
                <a:srgbClr val="2C373C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Freihandform: Form 226">
                <a:extLst>
                  <a:ext uri="{FF2B5EF4-FFF2-40B4-BE49-F238E27FC236}">
                    <a16:creationId xmlns:a16="http://schemas.microsoft.com/office/drawing/2014/main" id="{899A7D78-E763-47DC-85F5-9861A3416FEC}"/>
                  </a:ext>
                </a:extLst>
              </p:cNvPr>
              <p:cNvSpPr/>
              <p:nvPr/>
            </p:nvSpPr>
            <p:spPr>
              <a:xfrm>
                <a:off x="5821240" y="3654074"/>
                <a:ext cx="117198" cy="28184"/>
              </a:xfrm>
              <a:custGeom>
                <a:avLst/>
                <a:gdLst>
                  <a:gd name="connsiteX0" fmla="*/ 117121 w 117198"/>
                  <a:gd name="connsiteY0" fmla="*/ 16431 h 28184"/>
                  <a:gd name="connsiteX1" fmla="*/ 68610 w 117198"/>
                  <a:gd name="connsiteY1" fmla="*/ 996 h 28184"/>
                  <a:gd name="connsiteX2" fmla="*/ 254 w 117198"/>
                  <a:gd name="connsiteY2" fmla="*/ 18636 h 28184"/>
                  <a:gd name="connsiteX3" fmla="*/ 23775 w 117198"/>
                  <a:gd name="connsiteY3" fmla="*/ 25986 h 28184"/>
                  <a:gd name="connsiteX4" fmla="*/ 69345 w 117198"/>
                  <a:gd name="connsiteY4" fmla="*/ 22311 h 28184"/>
                  <a:gd name="connsiteX5" fmla="*/ 117121 w 117198"/>
                  <a:gd name="connsiteY5" fmla="*/ 16431 h 28184"/>
                  <a:gd name="connsiteX6" fmla="*/ 117121 w 117198"/>
                  <a:gd name="connsiteY6" fmla="*/ 16431 h 28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7198" h="28184">
                    <a:moveTo>
                      <a:pt x="117121" y="16431"/>
                    </a:moveTo>
                    <a:cubicBezTo>
                      <a:pt x="117856" y="14226"/>
                      <a:pt x="114181" y="5406"/>
                      <a:pt x="68610" y="996"/>
                    </a:cubicBezTo>
                    <a:cubicBezTo>
                      <a:pt x="23040" y="-3414"/>
                      <a:pt x="1724" y="7611"/>
                      <a:pt x="254" y="18636"/>
                    </a:cubicBezTo>
                    <a:cubicBezTo>
                      <a:pt x="-1951" y="29661"/>
                      <a:pt x="10544" y="29661"/>
                      <a:pt x="23775" y="25986"/>
                    </a:cubicBezTo>
                    <a:cubicBezTo>
                      <a:pt x="37005" y="22311"/>
                      <a:pt x="59055" y="22311"/>
                      <a:pt x="69345" y="22311"/>
                    </a:cubicBezTo>
                    <a:cubicBezTo>
                      <a:pt x="108301" y="20841"/>
                      <a:pt x="114181" y="28926"/>
                      <a:pt x="117121" y="16431"/>
                    </a:cubicBezTo>
                    <a:lnTo>
                      <a:pt x="117121" y="16431"/>
                    </a:lnTo>
                    <a:close/>
                  </a:path>
                </a:pathLst>
              </a:custGeom>
              <a:solidFill>
                <a:schemeClr val="tx2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Freihandform: Form 227">
                <a:extLst>
                  <a:ext uri="{FF2B5EF4-FFF2-40B4-BE49-F238E27FC236}">
                    <a16:creationId xmlns:a16="http://schemas.microsoft.com/office/drawing/2014/main" id="{732DDEFC-68BF-439C-B56F-E6EDF01BDFF8}"/>
                  </a:ext>
                </a:extLst>
              </p:cNvPr>
              <p:cNvSpPr/>
              <p:nvPr/>
            </p:nvSpPr>
            <p:spPr>
              <a:xfrm>
                <a:off x="5648766" y="3694760"/>
                <a:ext cx="45570" cy="30870"/>
              </a:xfrm>
              <a:custGeom>
                <a:avLst/>
                <a:gdLst>
                  <a:gd name="connsiteX0" fmla="*/ 45571 w 45570"/>
                  <a:gd name="connsiteY0" fmla="*/ 15435 h 30870"/>
                  <a:gd name="connsiteX1" fmla="*/ 22785 w 45570"/>
                  <a:gd name="connsiteY1" fmla="*/ 0 h 30870"/>
                  <a:gd name="connsiteX2" fmla="*/ 0 w 45570"/>
                  <a:gd name="connsiteY2" fmla="*/ 15435 h 30870"/>
                  <a:gd name="connsiteX3" fmla="*/ 22785 w 45570"/>
                  <a:gd name="connsiteY3" fmla="*/ 30871 h 30870"/>
                  <a:gd name="connsiteX4" fmla="*/ 45571 w 45570"/>
                  <a:gd name="connsiteY4" fmla="*/ 15435 h 30870"/>
                  <a:gd name="connsiteX5" fmla="*/ 45571 w 45570"/>
                  <a:gd name="connsiteY5" fmla="*/ 15435 h 30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570" h="30870">
                    <a:moveTo>
                      <a:pt x="45571" y="15435"/>
                    </a:moveTo>
                    <a:cubicBezTo>
                      <a:pt x="45571" y="6615"/>
                      <a:pt x="35281" y="0"/>
                      <a:pt x="22785" y="0"/>
                    </a:cubicBezTo>
                    <a:cubicBezTo>
                      <a:pt x="10290" y="0"/>
                      <a:pt x="0" y="6615"/>
                      <a:pt x="0" y="15435"/>
                    </a:cubicBezTo>
                    <a:cubicBezTo>
                      <a:pt x="0" y="24255"/>
                      <a:pt x="10290" y="30871"/>
                      <a:pt x="22785" y="30871"/>
                    </a:cubicBezTo>
                    <a:cubicBezTo>
                      <a:pt x="36016" y="30871"/>
                      <a:pt x="45571" y="24255"/>
                      <a:pt x="45571" y="15435"/>
                    </a:cubicBezTo>
                    <a:lnTo>
                      <a:pt x="45571" y="15435"/>
                    </a:lnTo>
                    <a:close/>
                  </a:path>
                </a:pathLst>
              </a:custGeom>
              <a:solidFill>
                <a:srgbClr val="2C373C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Freihandform: Form 228">
                <a:extLst>
                  <a:ext uri="{FF2B5EF4-FFF2-40B4-BE49-F238E27FC236}">
                    <a16:creationId xmlns:a16="http://schemas.microsoft.com/office/drawing/2014/main" id="{E7D723C2-EF7C-42E3-B402-1F5E69EBD3B0}"/>
                  </a:ext>
                </a:extLst>
              </p:cNvPr>
              <p:cNvSpPr/>
              <p:nvPr/>
            </p:nvSpPr>
            <p:spPr>
              <a:xfrm>
                <a:off x="5598050" y="3654079"/>
                <a:ext cx="124246" cy="30621"/>
              </a:xfrm>
              <a:custGeom>
                <a:avLst/>
                <a:gdLst>
                  <a:gd name="connsiteX0" fmla="*/ 0 w 124246"/>
                  <a:gd name="connsiteY0" fmla="*/ 14956 h 30621"/>
                  <a:gd name="connsiteX1" fmla="*/ 54391 w 124246"/>
                  <a:gd name="connsiteY1" fmla="*/ 255 h 30621"/>
                  <a:gd name="connsiteX2" fmla="*/ 124217 w 124246"/>
                  <a:gd name="connsiteY2" fmla="*/ 21571 h 30621"/>
                  <a:gd name="connsiteX3" fmla="*/ 98492 w 124246"/>
                  <a:gd name="connsiteY3" fmla="*/ 28186 h 30621"/>
                  <a:gd name="connsiteX4" fmla="*/ 52921 w 124246"/>
                  <a:gd name="connsiteY4" fmla="*/ 20101 h 30621"/>
                  <a:gd name="connsiteX5" fmla="*/ 0 w 124246"/>
                  <a:gd name="connsiteY5" fmla="*/ 14956 h 30621"/>
                  <a:gd name="connsiteX6" fmla="*/ 0 w 124246"/>
                  <a:gd name="connsiteY6" fmla="*/ 14956 h 30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246" h="30621">
                    <a:moveTo>
                      <a:pt x="0" y="14956"/>
                    </a:moveTo>
                    <a:cubicBezTo>
                      <a:pt x="0" y="12751"/>
                      <a:pt x="5145" y="1725"/>
                      <a:pt x="54391" y="255"/>
                    </a:cubicBezTo>
                    <a:cubicBezTo>
                      <a:pt x="102902" y="-1950"/>
                      <a:pt x="123482" y="10546"/>
                      <a:pt x="124217" y="21571"/>
                    </a:cubicBezTo>
                    <a:cubicBezTo>
                      <a:pt x="124952" y="32596"/>
                      <a:pt x="111722" y="31861"/>
                      <a:pt x="98492" y="28186"/>
                    </a:cubicBezTo>
                    <a:cubicBezTo>
                      <a:pt x="85261" y="23776"/>
                      <a:pt x="63946" y="21571"/>
                      <a:pt x="52921" y="20101"/>
                    </a:cubicBezTo>
                    <a:cubicBezTo>
                      <a:pt x="11760" y="15691"/>
                      <a:pt x="735" y="27451"/>
                      <a:pt x="0" y="14956"/>
                    </a:cubicBezTo>
                    <a:lnTo>
                      <a:pt x="0" y="14956"/>
                    </a:lnTo>
                    <a:close/>
                  </a:path>
                </a:pathLst>
              </a:custGeom>
              <a:solidFill>
                <a:schemeClr val="tx2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0" name="Freihandform: Form 229">
                <a:extLst>
                  <a:ext uri="{FF2B5EF4-FFF2-40B4-BE49-F238E27FC236}">
                    <a16:creationId xmlns:a16="http://schemas.microsoft.com/office/drawing/2014/main" id="{6A5FF4A2-9823-42DD-A8F3-2E812FC837A5}"/>
                  </a:ext>
                </a:extLst>
              </p:cNvPr>
              <p:cNvSpPr/>
              <p:nvPr/>
            </p:nvSpPr>
            <p:spPr>
              <a:xfrm>
                <a:off x="5646561" y="3705051"/>
                <a:ext cx="19845" cy="10290"/>
              </a:xfrm>
              <a:custGeom>
                <a:avLst/>
                <a:gdLst>
                  <a:gd name="connsiteX0" fmla="*/ 19845 w 19845"/>
                  <a:gd name="connsiteY0" fmla="*/ 5145 h 10290"/>
                  <a:gd name="connsiteX1" fmla="*/ 10290 w 19845"/>
                  <a:gd name="connsiteY1" fmla="*/ 10290 h 10290"/>
                  <a:gd name="connsiteX2" fmla="*/ 0 w 19845"/>
                  <a:gd name="connsiteY2" fmla="*/ 5145 h 10290"/>
                  <a:gd name="connsiteX3" fmla="*/ 10290 w 19845"/>
                  <a:gd name="connsiteY3" fmla="*/ 0 h 10290"/>
                  <a:gd name="connsiteX4" fmla="*/ 19845 w 19845"/>
                  <a:gd name="connsiteY4" fmla="*/ 5145 h 10290"/>
                  <a:gd name="connsiteX5" fmla="*/ 19845 w 19845"/>
                  <a:gd name="connsiteY5" fmla="*/ 5145 h 1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845" h="10290">
                    <a:moveTo>
                      <a:pt x="19845" y="5145"/>
                    </a:moveTo>
                    <a:cubicBezTo>
                      <a:pt x="19845" y="8085"/>
                      <a:pt x="15435" y="10290"/>
                      <a:pt x="10290" y="10290"/>
                    </a:cubicBezTo>
                    <a:cubicBezTo>
                      <a:pt x="5145" y="10290"/>
                      <a:pt x="0" y="8085"/>
                      <a:pt x="0" y="5145"/>
                    </a:cubicBezTo>
                    <a:cubicBezTo>
                      <a:pt x="0" y="2205"/>
                      <a:pt x="4410" y="0"/>
                      <a:pt x="10290" y="0"/>
                    </a:cubicBezTo>
                    <a:cubicBezTo>
                      <a:pt x="15435" y="0"/>
                      <a:pt x="19845" y="2205"/>
                      <a:pt x="19845" y="5145"/>
                    </a:cubicBezTo>
                    <a:lnTo>
                      <a:pt x="19845" y="5145"/>
                    </a:lnTo>
                    <a:close/>
                  </a:path>
                </a:pathLst>
              </a:custGeom>
              <a:solidFill>
                <a:srgbClr val="F5F5F0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1" name="Freihandform: Form 230">
                <a:extLst>
                  <a:ext uri="{FF2B5EF4-FFF2-40B4-BE49-F238E27FC236}">
                    <a16:creationId xmlns:a16="http://schemas.microsoft.com/office/drawing/2014/main" id="{DBA12336-198A-48C0-889E-6A8B2DDA0905}"/>
                  </a:ext>
                </a:extLst>
              </p:cNvPr>
              <p:cNvSpPr/>
              <p:nvPr/>
            </p:nvSpPr>
            <p:spPr>
              <a:xfrm>
                <a:off x="5839869" y="3705051"/>
                <a:ext cx="19845" cy="10290"/>
              </a:xfrm>
              <a:custGeom>
                <a:avLst/>
                <a:gdLst>
                  <a:gd name="connsiteX0" fmla="*/ 19845 w 19845"/>
                  <a:gd name="connsiteY0" fmla="*/ 5145 h 10290"/>
                  <a:gd name="connsiteX1" fmla="*/ 10290 w 19845"/>
                  <a:gd name="connsiteY1" fmla="*/ 10290 h 10290"/>
                  <a:gd name="connsiteX2" fmla="*/ 0 w 19845"/>
                  <a:gd name="connsiteY2" fmla="*/ 5145 h 10290"/>
                  <a:gd name="connsiteX3" fmla="*/ 10290 w 19845"/>
                  <a:gd name="connsiteY3" fmla="*/ 0 h 10290"/>
                  <a:gd name="connsiteX4" fmla="*/ 19845 w 19845"/>
                  <a:gd name="connsiteY4" fmla="*/ 5145 h 10290"/>
                  <a:gd name="connsiteX5" fmla="*/ 19845 w 19845"/>
                  <a:gd name="connsiteY5" fmla="*/ 5145 h 10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845" h="10290">
                    <a:moveTo>
                      <a:pt x="19845" y="5145"/>
                    </a:moveTo>
                    <a:cubicBezTo>
                      <a:pt x="19845" y="8085"/>
                      <a:pt x="15435" y="10290"/>
                      <a:pt x="10290" y="10290"/>
                    </a:cubicBezTo>
                    <a:cubicBezTo>
                      <a:pt x="5145" y="10290"/>
                      <a:pt x="0" y="8085"/>
                      <a:pt x="0" y="5145"/>
                    </a:cubicBezTo>
                    <a:cubicBezTo>
                      <a:pt x="0" y="2205"/>
                      <a:pt x="4410" y="0"/>
                      <a:pt x="10290" y="0"/>
                    </a:cubicBezTo>
                    <a:cubicBezTo>
                      <a:pt x="15435" y="0"/>
                      <a:pt x="19845" y="2205"/>
                      <a:pt x="19845" y="5145"/>
                    </a:cubicBezTo>
                    <a:lnTo>
                      <a:pt x="19845" y="5145"/>
                    </a:lnTo>
                    <a:close/>
                  </a:path>
                </a:pathLst>
              </a:custGeom>
              <a:solidFill>
                <a:srgbClr val="EBF0F5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Freihandform: Form 231">
                <a:extLst>
                  <a:ext uri="{FF2B5EF4-FFF2-40B4-BE49-F238E27FC236}">
                    <a16:creationId xmlns:a16="http://schemas.microsoft.com/office/drawing/2014/main" id="{3CF17F8D-C120-4042-B6D3-B8AEA90406E9}"/>
                  </a:ext>
                </a:extLst>
              </p:cNvPr>
              <p:cNvSpPr/>
              <p:nvPr/>
            </p:nvSpPr>
            <p:spPr>
              <a:xfrm>
                <a:off x="5510604" y="3331135"/>
                <a:ext cx="543813" cy="412136"/>
              </a:xfrm>
              <a:custGeom>
                <a:avLst/>
                <a:gdLst>
                  <a:gd name="connsiteX0" fmla="*/ 537273 w 543813"/>
                  <a:gd name="connsiteY0" fmla="*/ 158557 h 412136"/>
                  <a:gd name="connsiteX1" fmla="*/ 485088 w 543813"/>
                  <a:gd name="connsiteY1" fmla="*/ 91671 h 412136"/>
                  <a:gd name="connsiteX2" fmla="*/ 413791 w 543813"/>
                  <a:gd name="connsiteY2" fmla="*/ 43160 h 412136"/>
                  <a:gd name="connsiteX3" fmla="*/ 296925 w 543813"/>
                  <a:gd name="connsiteY3" fmla="*/ 6410 h 412136"/>
                  <a:gd name="connsiteX4" fmla="*/ 142572 w 543813"/>
                  <a:gd name="connsiteY4" fmla="*/ 10085 h 412136"/>
                  <a:gd name="connsiteX5" fmla="*/ 32320 w 543813"/>
                  <a:gd name="connsiteY5" fmla="*/ 146062 h 412136"/>
                  <a:gd name="connsiteX6" fmla="*/ 33790 w 543813"/>
                  <a:gd name="connsiteY6" fmla="*/ 391556 h 412136"/>
                  <a:gd name="connsiteX7" fmla="*/ 53636 w 543813"/>
                  <a:gd name="connsiteY7" fmla="*/ 179137 h 412136"/>
                  <a:gd name="connsiteX8" fmla="*/ 348375 w 543813"/>
                  <a:gd name="connsiteY8" fmla="*/ 196043 h 412136"/>
                  <a:gd name="connsiteX9" fmla="*/ 497583 w 543813"/>
                  <a:gd name="connsiteY9" fmla="*/ 412136 h 412136"/>
                  <a:gd name="connsiteX10" fmla="*/ 532863 w 543813"/>
                  <a:gd name="connsiteY10" fmla="*/ 200453 h 412136"/>
                  <a:gd name="connsiteX11" fmla="*/ 537273 w 543813"/>
                  <a:gd name="connsiteY11" fmla="*/ 158557 h 41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3813" h="412136">
                    <a:moveTo>
                      <a:pt x="537273" y="158557"/>
                    </a:moveTo>
                    <a:cubicBezTo>
                      <a:pt x="535803" y="136507"/>
                      <a:pt x="479943" y="97551"/>
                      <a:pt x="485088" y="91671"/>
                    </a:cubicBezTo>
                    <a:cubicBezTo>
                      <a:pt x="472592" y="73296"/>
                      <a:pt x="423347" y="54920"/>
                      <a:pt x="413791" y="43160"/>
                    </a:cubicBezTo>
                    <a:cubicBezTo>
                      <a:pt x="391741" y="24785"/>
                      <a:pt x="310155" y="13025"/>
                      <a:pt x="296925" y="6410"/>
                    </a:cubicBezTo>
                    <a:cubicBezTo>
                      <a:pt x="252089" y="-10496"/>
                      <a:pt x="163152" y="11555"/>
                      <a:pt x="142572" y="10085"/>
                    </a:cubicBezTo>
                    <a:cubicBezTo>
                      <a:pt x="44080" y="38750"/>
                      <a:pt x="16150" y="89466"/>
                      <a:pt x="32320" y="146062"/>
                    </a:cubicBezTo>
                    <a:cubicBezTo>
                      <a:pt x="-25011" y="146797"/>
                      <a:pt x="5860" y="348190"/>
                      <a:pt x="33790" y="391556"/>
                    </a:cubicBezTo>
                    <a:cubicBezTo>
                      <a:pt x="33790" y="312175"/>
                      <a:pt x="79361" y="248229"/>
                      <a:pt x="53636" y="179137"/>
                    </a:cubicBezTo>
                    <a:cubicBezTo>
                      <a:pt x="125667" y="210008"/>
                      <a:pt x="266054" y="157087"/>
                      <a:pt x="348375" y="196043"/>
                    </a:cubicBezTo>
                    <a:cubicBezTo>
                      <a:pt x="485823" y="190898"/>
                      <a:pt x="487293" y="297474"/>
                      <a:pt x="497583" y="412136"/>
                    </a:cubicBezTo>
                    <a:cubicBezTo>
                      <a:pt x="504198" y="334225"/>
                      <a:pt x="505668" y="240143"/>
                      <a:pt x="532863" y="200453"/>
                    </a:cubicBezTo>
                    <a:cubicBezTo>
                      <a:pt x="563734" y="172522"/>
                      <a:pt x="517428" y="158557"/>
                      <a:pt x="537273" y="158557"/>
                    </a:cubicBezTo>
                    <a:close/>
                  </a:path>
                </a:pathLst>
              </a:custGeom>
              <a:solidFill>
                <a:schemeClr val="tx2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Freihandform: Form 232">
                <a:extLst>
                  <a:ext uri="{FF2B5EF4-FFF2-40B4-BE49-F238E27FC236}">
                    <a16:creationId xmlns:a16="http://schemas.microsoft.com/office/drawing/2014/main" id="{9DA35247-97A6-4292-9127-511DE04E1548}"/>
                  </a:ext>
                </a:extLst>
              </p:cNvPr>
              <p:cNvSpPr/>
              <p:nvPr/>
            </p:nvSpPr>
            <p:spPr>
              <a:xfrm>
                <a:off x="5528224" y="4289385"/>
                <a:ext cx="560079" cy="272689"/>
              </a:xfrm>
              <a:custGeom>
                <a:avLst/>
                <a:gdLst>
                  <a:gd name="connsiteX0" fmla="*/ 560079 w 560079"/>
                  <a:gd name="connsiteY0" fmla="*/ 0 h 272689"/>
                  <a:gd name="connsiteX1" fmla="*/ 560079 w 560079"/>
                  <a:gd name="connsiteY1" fmla="*/ 209478 h 272689"/>
                  <a:gd name="connsiteX2" fmla="*/ 489518 w 560079"/>
                  <a:gd name="connsiteY2" fmla="*/ 236674 h 272689"/>
                  <a:gd name="connsiteX3" fmla="*/ 480698 w 560079"/>
                  <a:gd name="connsiteY3" fmla="*/ 239614 h 272689"/>
                  <a:gd name="connsiteX4" fmla="*/ 435862 w 560079"/>
                  <a:gd name="connsiteY4" fmla="*/ 252109 h 272689"/>
                  <a:gd name="connsiteX5" fmla="*/ 369711 w 560079"/>
                  <a:gd name="connsiteY5" fmla="*/ 264604 h 272689"/>
                  <a:gd name="connsiteX6" fmla="*/ 346926 w 560079"/>
                  <a:gd name="connsiteY6" fmla="*/ 267544 h 272689"/>
                  <a:gd name="connsiteX7" fmla="*/ 336636 w 560079"/>
                  <a:gd name="connsiteY7" fmla="*/ 268279 h 272689"/>
                  <a:gd name="connsiteX8" fmla="*/ 312380 w 560079"/>
                  <a:gd name="connsiteY8" fmla="*/ 270484 h 272689"/>
                  <a:gd name="connsiteX9" fmla="*/ 291800 w 560079"/>
                  <a:gd name="connsiteY9" fmla="*/ 271954 h 272689"/>
                  <a:gd name="connsiteX10" fmla="*/ 262399 w 560079"/>
                  <a:gd name="connsiteY10" fmla="*/ 272690 h 272689"/>
                  <a:gd name="connsiteX11" fmla="*/ 258724 w 560079"/>
                  <a:gd name="connsiteY11" fmla="*/ 272690 h 272689"/>
                  <a:gd name="connsiteX12" fmla="*/ 255784 w 560079"/>
                  <a:gd name="connsiteY12" fmla="*/ 272690 h 272689"/>
                  <a:gd name="connsiteX13" fmla="*/ 221239 w 560079"/>
                  <a:gd name="connsiteY13" fmla="*/ 271219 h 272689"/>
                  <a:gd name="connsiteX14" fmla="*/ 193308 w 560079"/>
                  <a:gd name="connsiteY14" fmla="*/ 269014 h 272689"/>
                  <a:gd name="connsiteX15" fmla="*/ 155088 w 560079"/>
                  <a:gd name="connsiteY15" fmla="*/ 264604 h 272689"/>
                  <a:gd name="connsiteX16" fmla="*/ 145532 w 560079"/>
                  <a:gd name="connsiteY16" fmla="*/ 263134 h 272689"/>
                  <a:gd name="connsiteX17" fmla="*/ 114662 w 560079"/>
                  <a:gd name="connsiteY17" fmla="*/ 257254 h 272689"/>
                  <a:gd name="connsiteX18" fmla="*/ 79381 w 560079"/>
                  <a:gd name="connsiteY18" fmla="*/ 249169 h 272689"/>
                  <a:gd name="connsiteX19" fmla="*/ 72766 w 560079"/>
                  <a:gd name="connsiteY19" fmla="*/ 247699 h 272689"/>
                  <a:gd name="connsiteX20" fmla="*/ 63211 w 560079"/>
                  <a:gd name="connsiteY20" fmla="*/ 244759 h 272689"/>
                  <a:gd name="connsiteX21" fmla="*/ 0 w 560079"/>
                  <a:gd name="connsiteY21" fmla="*/ 223444 h 272689"/>
                  <a:gd name="connsiteX22" fmla="*/ 0 w 560079"/>
                  <a:gd name="connsiteY22" fmla="*/ 0 h 272689"/>
                  <a:gd name="connsiteX23" fmla="*/ 560079 w 560079"/>
                  <a:gd name="connsiteY23" fmla="*/ 0 h 272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60079" h="272689">
                    <a:moveTo>
                      <a:pt x="560079" y="0"/>
                    </a:moveTo>
                    <a:lnTo>
                      <a:pt x="560079" y="209478"/>
                    </a:lnTo>
                    <a:cubicBezTo>
                      <a:pt x="537294" y="219769"/>
                      <a:pt x="513773" y="228589"/>
                      <a:pt x="489518" y="236674"/>
                    </a:cubicBezTo>
                    <a:cubicBezTo>
                      <a:pt x="486578" y="237409"/>
                      <a:pt x="483638" y="238879"/>
                      <a:pt x="480698" y="239614"/>
                    </a:cubicBezTo>
                    <a:cubicBezTo>
                      <a:pt x="465998" y="244024"/>
                      <a:pt x="451297" y="248434"/>
                      <a:pt x="435862" y="252109"/>
                    </a:cubicBezTo>
                    <a:cubicBezTo>
                      <a:pt x="414547" y="257254"/>
                      <a:pt x="391761" y="261664"/>
                      <a:pt x="369711" y="264604"/>
                    </a:cubicBezTo>
                    <a:cubicBezTo>
                      <a:pt x="362361" y="265339"/>
                      <a:pt x="355011" y="266809"/>
                      <a:pt x="346926" y="267544"/>
                    </a:cubicBezTo>
                    <a:cubicBezTo>
                      <a:pt x="343251" y="268279"/>
                      <a:pt x="340311" y="268279"/>
                      <a:pt x="336636" y="268279"/>
                    </a:cubicBezTo>
                    <a:cubicBezTo>
                      <a:pt x="328550" y="269014"/>
                      <a:pt x="320465" y="269749"/>
                      <a:pt x="312380" y="270484"/>
                    </a:cubicBezTo>
                    <a:cubicBezTo>
                      <a:pt x="305765" y="271219"/>
                      <a:pt x="298415" y="271219"/>
                      <a:pt x="291800" y="271954"/>
                    </a:cubicBezTo>
                    <a:cubicBezTo>
                      <a:pt x="282245" y="271954"/>
                      <a:pt x="272690" y="272690"/>
                      <a:pt x="262399" y="272690"/>
                    </a:cubicBezTo>
                    <a:cubicBezTo>
                      <a:pt x="260929" y="272690"/>
                      <a:pt x="260194" y="272690"/>
                      <a:pt x="258724" y="272690"/>
                    </a:cubicBezTo>
                    <a:cubicBezTo>
                      <a:pt x="257989" y="272690"/>
                      <a:pt x="256519" y="272690"/>
                      <a:pt x="255784" y="272690"/>
                    </a:cubicBezTo>
                    <a:cubicBezTo>
                      <a:pt x="244024" y="272690"/>
                      <a:pt x="232264" y="271954"/>
                      <a:pt x="221239" y="271219"/>
                    </a:cubicBezTo>
                    <a:cubicBezTo>
                      <a:pt x="211683" y="270484"/>
                      <a:pt x="202128" y="269749"/>
                      <a:pt x="193308" y="269014"/>
                    </a:cubicBezTo>
                    <a:cubicBezTo>
                      <a:pt x="180813" y="267544"/>
                      <a:pt x="167583" y="266074"/>
                      <a:pt x="155088" y="264604"/>
                    </a:cubicBezTo>
                    <a:cubicBezTo>
                      <a:pt x="152148" y="263869"/>
                      <a:pt x="148472" y="263869"/>
                      <a:pt x="145532" y="263134"/>
                    </a:cubicBezTo>
                    <a:cubicBezTo>
                      <a:pt x="135242" y="261664"/>
                      <a:pt x="124952" y="259459"/>
                      <a:pt x="114662" y="257254"/>
                    </a:cubicBezTo>
                    <a:cubicBezTo>
                      <a:pt x="102902" y="255049"/>
                      <a:pt x="91142" y="252109"/>
                      <a:pt x="79381" y="249169"/>
                    </a:cubicBezTo>
                    <a:cubicBezTo>
                      <a:pt x="77176" y="248434"/>
                      <a:pt x="74971" y="247699"/>
                      <a:pt x="72766" y="247699"/>
                    </a:cubicBezTo>
                    <a:cubicBezTo>
                      <a:pt x="69826" y="246964"/>
                      <a:pt x="66886" y="246229"/>
                      <a:pt x="63211" y="244759"/>
                    </a:cubicBezTo>
                    <a:cubicBezTo>
                      <a:pt x="41896" y="238879"/>
                      <a:pt x="20580" y="231529"/>
                      <a:pt x="0" y="223444"/>
                    </a:cubicBezTo>
                    <a:lnTo>
                      <a:pt x="0" y="0"/>
                    </a:lnTo>
                    <a:lnTo>
                      <a:pt x="560079" y="0"/>
                    </a:lnTo>
                    <a:close/>
                  </a:path>
                </a:pathLst>
              </a:custGeom>
              <a:solidFill>
                <a:srgbClr val="E5E5E9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Freihandform: Form 233">
                <a:extLst>
                  <a:ext uri="{FF2B5EF4-FFF2-40B4-BE49-F238E27FC236}">
                    <a16:creationId xmlns:a16="http://schemas.microsoft.com/office/drawing/2014/main" id="{7ACA5DAB-8A96-47E1-BDD5-9EF47C6A9457}"/>
                  </a:ext>
                </a:extLst>
              </p:cNvPr>
              <p:cNvSpPr/>
              <p:nvPr/>
            </p:nvSpPr>
            <p:spPr>
              <a:xfrm>
                <a:off x="5736158" y="3845079"/>
                <a:ext cx="79677" cy="18452"/>
              </a:xfrm>
              <a:custGeom>
                <a:avLst/>
                <a:gdLst>
                  <a:gd name="connsiteX0" fmla="*/ 3750 w 79677"/>
                  <a:gd name="connsiteY0" fmla="*/ 9179 h 18452"/>
                  <a:gd name="connsiteX1" fmla="*/ 46381 w 79677"/>
                  <a:gd name="connsiteY1" fmla="*/ 17264 h 18452"/>
                  <a:gd name="connsiteX2" fmla="*/ 75046 w 79677"/>
                  <a:gd name="connsiteY2" fmla="*/ 6974 h 18452"/>
                  <a:gd name="connsiteX3" fmla="*/ 2280 w 79677"/>
                  <a:gd name="connsiteY3" fmla="*/ 1094 h 18452"/>
                  <a:gd name="connsiteX4" fmla="*/ 3750 w 79677"/>
                  <a:gd name="connsiteY4" fmla="*/ 9179 h 18452"/>
                  <a:gd name="connsiteX5" fmla="*/ 3750 w 79677"/>
                  <a:gd name="connsiteY5" fmla="*/ 9179 h 1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9677" h="18452">
                    <a:moveTo>
                      <a:pt x="3750" y="9179"/>
                    </a:moveTo>
                    <a:cubicBezTo>
                      <a:pt x="22860" y="20939"/>
                      <a:pt x="25800" y="18734"/>
                      <a:pt x="46381" y="17264"/>
                    </a:cubicBezTo>
                    <a:cubicBezTo>
                      <a:pt x="75781" y="15059"/>
                      <a:pt x="86806" y="14324"/>
                      <a:pt x="75046" y="6974"/>
                    </a:cubicBezTo>
                    <a:cubicBezTo>
                      <a:pt x="63286" y="-376"/>
                      <a:pt x="8160" y="-1111"/>
                      <a:pt x="2280" y="1094"/>
                    </a:cubicBezTo>
                    <a:cubicBezTo>
                      <a:pt x="-3600" y="2564"/>
                      <a:pt x="3750" y="9179"/>
                      <a:pt x="3750" y="9179"/>
                    </a:cubicBezTo>
                    <a:lnTo>
                      <a:pt x="3750" y="9179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Freihandform: Form 234">
                <a:extLst>
                  <a:ext uri="{FF2B5EF4-FFF2-40B4-BE49-F238E27FC236}">
                    <a16:creationId xmlns:a16="http://schemas.microsoft.com/office/drawing/2014/main" id="{EA5F93F8-A096-4D22-BD5C-AA1F6B51C52A}"/>
                  </a:ext>
                </a:extLst>
              </p:cNvPr>
              <p:cNvSpPr/>
              <p:nvPr/>
            </p:nvSpPr>
            <p:spPr>
              <a:xfrm>
                <a:off x="5723737" y="3918939"/>
                <a:ext cx="99961" cy="14700"/>
              </a:xfrm>
              <a:custGeom>
                <a:avLst/>
                <a:gdLst>
                  <a:gd name="connsiteX0" fmla="*/ 48511 w 99961"/>
                  <a:gd name="connsiteY0" fmla="*/ 14700 h 14700"/>
                  <a:gd name="connsiteX1" fmla="*/ 0 w 99961"/>
                  <a:gd name="connsiteY1" fmla="*/ 7350 h 14700"/>
                  <a:gd name="connsiteX2" fmla="*/ 2205 w 99961"/>
                  <a:gd name="connsiteY2" fmla="*/ 1470 h 14700"/>
                  <a:gd name="connsiteX3" fmla="*/ 97757 w 99961"/>
                  <a:gd name="connsiteY3" fmla="*/ 0 h 14700"/>
                  <a:gd name="connsiteX4" fmla="*/ 99962 w 99961"/>
                  <a:gd name="connsiteY4" fmla="*/ 5880 h 14700"/>
                  <a:gd name="connsiteX5" fmla="*/ 48511 w 99961"/>
                  <a:gd name="connsiteY5" fmla="*/ 14700 h 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961" h="14700">
                    <a:moveTo>
                      <a:pt x="48511" y="14700"/>
                    </a:moveTo>
                    <a:cubicBezTo>
                      <a:pt x="21315" y="14700"/>
                      <a:pt x="735" y="7350"/>
                      <a:pt x="0" y="7350"/>
                    </a:cubicBezTo>
                    <a:lnTo>
                      <a:pt x="2205" y="1470"/>
                    </a:lnTo>
                    <a:cubicBezTo>
                      <a:pt x="2940" y="1470"/>
                      <a:pt x="50716" y="18375"/>
                      <a:pt x="97757" y="0"/>
                    </a:cubicBezTo>
                    <a:lnTo>
                      <a:pt x="99962" y="5880"/>
                    </a:lnTo>
                    <a:cubicBezTo>
                      <a:pt x="82321" y="12495"/>
                      <a:pt x="63946" y="14700"/>
                      <a:pt x="48511" y="1470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Freihandform: Form 235">
                <a:extLst>
                  <a:ext uri="{FF2B5EF4-FFF2-40B4-BE49-F238E27FC236}">
                    <a16:creationId xmlns:a16="http://schemas.microsoft.com/office/drawing/2014/main" id="{FE61CAC1-A31E-4912-B14C-ED44408FD02E}"/>
                  </a:ext>
                </a:extLst>
              </p:cNvPr>
              <p:cNvSpPr/>
              <p:nvPr/>
            </p:nvSpPr>
            <p:spPr>
              <a:xfrm>
                <a:off x="5744318" y="3948339"/>
                <a:ext cx="59535" cy="11025"/>
              </a:xfrm>
              <a:custGeom>
                <a:avLst/>
                <a:gdLst>
                  <a:gd name="connsiteX0" fmla="*/ 36016 w 59535"/>
                  <a:gd name="connsiteY0" fmla="*/ 11025 h 11025"/>
                  <a:gd name="connsiteX1" fmla="*/ 0 w 59535"/>
                  <a:gd name="connsiteY1" fmla="*/ 5880 h 11025"/>
                  <a:gd name="connsiteX2" fmla="*/ 2205 w 59535"/>
                  <a:gd name="connsiteY2" fmla="*/ 0 h 11025"/>
                  <a:gd name="connsiteX3" fmla="*/ 58066 w 59535"/>
                  <a:gd name="connsiteY3" fmla="*/ 2205 h 11025"/>
                  <a:gd name="connsiteX4" fmla="*/ 59536 w 59535"/>
                  <a:gd name="connsiteY4" fmla="*/ 8085 h 11025"/>
                  <a:gd name="connsiteX5" fmla="*/ 36016 w 59535"/>
                  <a:gd name="connsiteY5" fmla="*/ 11025 h 1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535" h="11025">
                    <a:moveTo>
                      <a:pt x="36016" y="11025"/>
                    </a:moveTo>
                    <a:cubicBezTo>
                      <a:pt x="16170" y="11025"/>
                      <a:pt x="1470" y="5880"/>
                      <a:pt x="0" y="5880"/>
                    </a:cubicBezTo>
                    <a:lnTo>
                      <a:pt x="2205" y="0"/>
                    </a:lnTo>
                    <a:cubicBezTo>
                      <a:pt x="2205" y="0"/>
                      <a:pt x="30135" y="8820"/>
                      <a:pt x="58066" y="2205"/>
                    </a:cubicBezTo>
                    <a:lnTo>
                      <a:pt x="59536" y="8085"/>
                    </a:lnTo>
                    <a:cubicBezTo>
                      <a:pt x="50716" y="10290"/>
                      <a:pt x="43366" y="11025"/>
                      <a:pt x="36016" y="11025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Freihandform: Form 236">
                <a:extLst>
                  <a:ext uri="{FF2B5EF4-FFF2-40B4-BE49-F238E27FC236}">
                    <a16:creationId xmlns:a16="http://schemas.microsoft.com/office/drawing/2014/main" id="{44AA55CD-ACF5-4334-AF41-9525DD2C6061}"/>
                  </a:ext>
                </a:extLst>
              </p:cNvPr>
              <p:cNvSpPr/>
              <p:nvPr/>
            </p:nvSpPr>
            <p:spPr>
              <a:xfrm>
                <a:off x="5721532" y="4362886"/>
                <a:ext cx="119071" cy="198453"/>
              </a:xfrm>
              <a:custGeom>
                <a:avLst/>
                <a:gdLst>
                  <a:gd name="connsiteX0" fmla="*/ 99227 w 119071"/>
                  <a:gd name="connsiteY0" fmla="*/ 22785 h 198453"/>
                  <a:gd name="connsiteX1" fmla="*/ 119072 w 119071"/>
                  <a:gd name="connsiteY1" fmla="*/ 196248 h 198453"/>
                  <a:gd name="connsiteX2" fmla="*/ 98492 w 119071"/>
                  <a:gd name="connsiteY2" fmla="*/ 197718 h 198453"/>
                  <a:gd name="connsiteX3" fmla="*/ 69091 w 119071"/>
                  <a:gd name="connsiteY3" fmla="*/ 198453 h 198453"/>
                  <a:gd name="connsiteX4" fmla="*/ 65416 w 119071"/>
                  <a:gd name="connsiteY4" fmla="*/ 198453 h 198453"/>
                  <a:gd name="connsiteX5" fmla="*/ 62476 w 119071"/>
                  <a:gd name="connsiteY5" fmla="*/ 198453 h 198453"/>
                  <a:gd name="connsiteX6" fmla="*/ 27930 w 119071"/>
                  <a:gd name="connsiteY6" fmla="*/ 196983 h 198453"/>
                  <a:gd name="connsiteX7" fmla="*/ 0 w 119071"/>
                  <a:gd name="connsiteY7" fmla="*/ 194778 h 198453"/>
                  <a:gd name="connsiteX8" fmla="*/ 20580 w 119071"/>
                  <a:gd name="connsiteY8" fmla="*/ 19110 h 198453"/>
                  <a:gd name="connsiteX9" fmla="*/ 22785 w 119071"/>
                  <a:gd name="connsiteY9" fmla="*/ 0 h 198453"/>
                  <a:gd name="connsiteX10" fmla="*/ 59536 w 119071"/>
                  <a:gd name="connsiteY10" fmla="*/ 12495 h 198453"/>
                  <a:gd name="connsiteX11" fmla="*/ 96287 w 119071"/>
                  <a:gd name="connsiteY11" fmla="*/ 0 h 198453"/>
                  <a:gd name="connsiteX12" fmla="*/ 99227 w 119071"/>
                  <a:gd name="connsiteY12" fmla="*/ 22785 h 19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9071" h="198453">
                    <a:moveTo>
                      <a:pt x="99227" y="22785"/>
                    </a:moveTo>
                    <a:lnTo>
                      <a:pt x="119072" y="196248"/>
                    </a:lnTo>
                    <a:cubicBezTo>
                      <a:pt x="112457" y="196983"/>
                      <a:pt x="105107" y="196983"/>
                      <a:pt x="98492" y="197718"/>
                    </a:cubicBezTo>
                    <a:cubicBezTo>
                      <a:pt x="88936" y="197718"/>
                      <a:pt x="79381" y="198453"/>
                      <a:pt x="69091" y="198453"/>
                    </a:cubicBezTo>
                    <a:cubicBezTo>
                      <a:pt x="67621" y="198453"/>
                      <a:pt x="66886" y="198453"/>
                      <a:pt x="65416" y="198453"/>
                    </a:cubicBezTo>
                    <a:cubicBezTo>
                      <a:pt x="64681" y="198453"/>
                      <a:pt x="63211" y="198453"/>
                      <a:pt x="62476" y="198453"/>
                    </a:cubicBezTo>
                    <a:cubicBezTo>
                      <a:pt x="50716" y="198453"/>
                      <a:pt x="38956" y="197718"/>
                      <a:pt x="27930" y="196983"/>
                    </a:cubicBezTo>
                    <a:cubicBezTo>
                      <a:pt x="18375" y="196248"/>
                      <a:pt x="8820" y="195513"/>
                      <a:pt x="0" y="194778"/>
                    </a:cubicBezTo>
                    <a:lnTo>
                      <a:pt x="20580" y="19110"/>
                    </a:lnTo>
                    <a:lnTo>
                      <a:pt x="22785" y="0"/>
                    </a:lnTo>
                    <a:lnTo>
                      <a:pt x="59536" y="12495"/>
                    </a:lnTo>
                    <a:lnTo>
                      <a:pt x="96287" y="0"/>
                    </a:lnTo>
                    <a:lnTo>
                      <a:pt x="99227" y="22785"/>
                    </a:lnTo>
                    <a:close/>
                  </a:path>
                </a:pathLst>
              </a:custGeom>
              <a:solidFill>
                <a:srgbClr val="00AF8E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Freihandform: Form 237">
                <a:extLst>
                  <a:ext uri="{FF2B5EF4-FFF2-40B4-BE49-F238E27FC236}">
                    <a16:creationId xmlns:a16="http://schemas.microsoft.com/office/drawing/2014/main" id="{AD908368-2B23-4CB5-9782-15B5AEFC373E}"/>
                  </a:ext>
                </a:extLst>
              </p:cNvPr>
              <p:cNvSpPr/>
              <p:nvPr/>
            </p:nvSpPr>
            <p:spPr>
              <a:xfrm>
                <a:off x="5693602" y="4285710"/>
                <a:ext cx="177872" cy="109516"/>
              </a:xfrm>
              <a:custGeom>
                <a:avLst/>
                <a:gdLst>
                  <a:gd name="connsiteX0" fmla="*/ 0 w 177872"/>
                  <a:gd name="connsiteY0" fmla="*/ 0 h 109516"/>
                  <a:gd name="connsiteX1" fmla="*/ 55126 w 177872"/>
                  <a:gd name="connsiteY1" fmla="*/ 109517 h 109516"/>
                  <a:gd name="connsiteX2" fmla="*/ 88937 w 177872"/>
                  <a:gd name="connsiteY2" fmla="*/ 109517 h 109516"/>
                  <a:gd name="connsiteX3" fmla="*/ 122747 w 177872"/>
                  <a:gd name="connsiteY3" fmla="*/ 109517 h 109516"/>
                  <a:gd name="connsiteX4" fmla="*/ 177873 w 177872"/>
                  <a:gd name="connsiteY4" fmla="*/ 0 h 109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872" h="109516">
                    <a:moveTo>
                      <a:pt x="0" y="0"/>
                    </a:moveTo>
                    <a:lnTo>
                      <a:pt x="55126" y="109517"/>
                    </a:lnTo>
                    <a:lnTo>
                      <a:pt x="88937" y="109517"/>
                    </a:lnTo>
                    <a:lnTo>
                      <a:pt x="122747" y="109517"/>
                    </a:lnTo>
                    <a:lnTo>
                      <a:pt x="177873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Freihandform: Form 238">
                <a:extLst>
                  <a:ext uri="{FF2B5EF4-FFF2-40B4-BE49-F238E27FC236}">
                    <a16:creationId xmlns:a16="http://schemas.microsoft.com/office/drawing/2014/main" id="{06491E8E-A8DA-46C3-AA21-060FF40432E1}"/>
                  </a:ext>
                </a:extLst>
              </p:cNvPr>
              <p:cNvSpPr/>
              <p:nvPr/>
            </p:nvSpPr>
            <p:spPr>
              <a:xfrm>
                <a:off x="5766368" y="4123272"/>
                <a:ext cx="211066" cy="271954"/>
              </a:xfrm>
              <a:custGeom>
                <a:avLst/>
                <a:gdLst>
                  <a:gd name="connsiteX0" fmla="*/ 160968 w 211066"/>
                  <a:gd name="connsiteY0" fmla="*/ 271954 h 271954"/>
                  <a:gd name="connsiteX1" fmla="*/ 210948 w 211066"/>
                  <a:gd name="connsiteY1" fmla="*/ 85996 h 271954"/>
                  <a:gd name="connsiteX2" fmla="*/ 177138 w 211066"/>
                  <a:gd name="connsiteY2" fmla="*/ 0 h 271954"/>
                  <a:gd name="connsiteX3" fmla="*/ 99227 w 211066"/>
                  <a:gd name="connsiteY3" fmla="*/ 89672 h 271954"/>
                  <a:gd name="connsiteX4" fmla="*/ 0 w 211066"/>
                  <a:gd name="connsiteY4" fmla="*/ 168318 h 271954"/>
                  <a:gd name="connsiteX5" fmla="*/ 83791 w 211066"/>
                  <a:gd name="connsiteY5" fmla="*/ 196983 h 271954"/>
                  <a:gd name="connsiteX6" fmla="*/ 160968 w 211066"/>
                  <a:gd name="connsiteY6" fmla="*/ 271954 h 27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1066" h="271954">
                    <a:moveTo>
                      <a:pt x="160968" y="271954"/>
                    </a:moveTo>
                    <a:cubicBezTo>
                      <a:pt x="160968" y="271954"/>
                      <a:pt x="213888" y="110987"/>
                      <a:pt x="210948" y="85996"/>
                    </a:cubicBezTo>
                    <a:cubicBezTo>
                      <a:pt x="208008" y="61006"/>
                      <a:pt x="177138" y="0"/>
                      <a:pt x="177138" y="0"/>
                    </a:cubicBezTo>
                    <a:cubicBezTo>
                      <a:pt x="177138" y="0"/>
                      <a:pt x="173463" y="38956"/>
                      <a:pt x="99227" y="89672"/>
                    </a:cubicBezTo>
                    <a:cubicBezTo>
                      <a:pt x="24990" y="140387"/>
                      <a:pt x="0" y="168318"/>
                      <a:pt x="0" y="168318"/>
                    </a:cubicBezTo>
                    <a:cubicBezTo>
                      <a:pt x="0" y="168318"/>
                      <a:pt x="38221" y="165378"/>
                      <a:pt x="83791" y="196983"/>
                    </a:cubicBezTo>
                    <a:lnTo>
                      <a:pt x="160968" y="271954"/>
                    </a:lnTo>
                    <a:close/>
                  </a:path>
                </a:pathLst>
              </a:custGeom>
              <a:solidFill>
                <a:schemeClr val="bg1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Freihandform: Form 239">
                <a:extLst>
                  <a:ext uri="{FF2B5EF4-FFF2-40B4-BE49-F238E27FC236}">
                    <a16:creationId xmlns:a16="http://schemas.microsoft.com/office/drawing/2014/main" id="{8F29A216-714B-4478-A442-363B106B2F17}"/>
                  </a:ext>
                </a:extLst>
              </p:cNvPr>
              <p:cNvSpPr/>
              <p:nvPr/>
            </p:nvSpPr>
            <p:spPr>
              <a:xfrm>
                <a:off x="5567062" y="4126947"/>
                <a:ext cx="211801" cy="268279"/>
              </a:xfrm>
              <a:custGeom>
                <a:avLst/>
                <a:gdLst>
                  <a:gd name="connsiteX0" fmla="*/ 211802 w 211801"/>
                  <a:gd name="connsiteY0" fmla="*/ 163908 h 268279"/>
                  <a:gd name="connsiteX1" fmla="*/ 128010 w 211801"/>
                  <a:gd name="connsiteY1" fmla="*/ 192573 h 268279"/>
                  <a:gd name="connsiteX2" fmla="*/ 50099 w 211801"/>
                  <a:gd name="connsiteY2" fmla="*/ 268279 h 268279"/>
                  <a:gd name="connsiteX3" fmla="*/ 118 w 211801"/>
                  <a:gd name="connsiteY3" fmla="*/ 82321 h 268279"/>
                  <a:gd name="connsiteX4" fmla="*/ 35399 w 211801"/>
                  <a:gd name="connsiteY4" fmla="*/ 0 h 268279"/>
                  <a:gd name="connsiteX5" fmla="*/ 112575 w 211801"/>
                  <a:gd name="connsiteY5" fmla="*/ 85996 h 268279"/>
                  <a:gd name="connsiteX6" fmla="*/ 211802 w 211801"/>
                  <a:gd name="connsiteY6" fmla="*/ 163908 h 268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1801" h="268279">
                    <a:moveTo>
                      <a:pt x="211802" y="163908"/>
                    </a:moveTo>
                    <a:cubicBezTo>
                      <a:pt x="211802" y="163908"/>
                      <a:pt x="171376" y="157293"/>
                      <a:pt x="128010" y="192573"/>
                    </a:cubicBezTo>
                    <a:cubicBezTo>
                      <a:pt x="84645" y="227119"/>
                      <a:pt x="50099" y="268279"/>
                      <a:pt x="50099" y="268279"/>
                    </a:cubicBezTo>
                    <a:cubicBezTo>
                      <a:pt x="50099" y="268279"/>
                      <a:pt x="-2822" y="107312"/>
                      <a:pt x="118" y="82321"/>
                    </a:cubicBezTo>
                    <a:cubicBezTo>
                      <a:pt x="3058" y="57331"/>
                      <a:pt x="35399" y="0"/>
                      <a:pt x="35399" y="0"/>
                    </a:cubicBezTo>
                    <a:cubicBezTo>
                      <a:pt x="35399" y="0"/>
                      <a:pt x="37604" y="35281"/>
                      <a:pt x="112575" y="85996"/>
                    </a:cubicBezTo>
                    <a:cubicBezTo>
                      <a:pt x="186811" y="135242"/>
                      <a:pt x="211802" y="163908"/>
                      <a:pt x="211802" y="163908"/>
                    </a:cubicBezTo>
                    <a:close/>
                  </a:path>
                </a:pathLst>
              </a:custGeom>
              <a:solidFill>
                <a:schemeClr val="bg1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41" name="Grafik 127">
                <a:extLst>
                  <a:ext uri="{FF2B5EF4-FFF2-40B4-BE49-F238E27FC236}">
                    <a16:creationId xmlns:a16="http://schemas.microsoft.com/office/drawing/2014/main" id="{F8D71810-F57D-490F-A456-B6235A2F4C72}"/>
                  </a:ext>
                </a:extLst>
              </p:cNvPr>
              <p:cNvGrpSpPr/>
              <p:nvPr/>
            </p:nvGrpSpPr>
            <p:grpSpPr>
              <a:xfrm>
                <a:off x="5240100" y="4124742"/>
                <a:ext cx="1080467" cy="429982"/>
                <a:chOff x="5240100" y="4124742"/>
                <a:chExt cx="1080467" cy="429982"/>
              </a:xfrm>
              <a:solidFill>
                <a:srgbClr val="2D373C"/>
              </a:solidFill>
            </p:grpSpPr>
            <p:sp>
              <p:nvSpPr>
                <p:cNvPr id="242" name="Freihandform: Form 241">
                  <a:extLst>
                    <a:ext uri="{FF2B5EF4-FFF2-40B4-BE49-F238E27FC236}">
                      <a16:creationId xmlns:a16="http://schemas.microsoft.com/office/drawing/2014/main" id="{748D1F44-3913-4989-8E0F-EB63DC0E9ECF}"/>
                    </a:ext>
                  </a:extLst>
                </p:cNvPr>
                <p:cNvSpPr/>
                <p:nvPr/>
              </p:nvSpPr>
              <p:spPr>
                <a:xfrm>
                  <a:off x="5240100" y="4126212"/>
                  <a:ext cx="403521" cy="420426"/>
                </a:xfrm>
                <a:custGeom>
                  <a:avLst/>
                  <a:gdLst>
                    <a:gd name="connsiteX0" fmla="*/ 403522 w 403521"/>
                    <a:gd name="connsiteY0" fmla="*/ 420427 h 420426"/>
                    <a:gd name="connsiteX1" fmla="*/ 368241 w 403521"/>
                    <a:gd name="connsiteY1" fmla="*/ 412342 h 420426"/>
                    <a:gd name="connsiteX2" fmla="*/ 361626 w 403521"/>
                    <a:gd name="connsiteY2" fmla="*/ 410872 h 420426"/>
                    <a:gd name="connsiteX3" fmla="*/ 352071 w 403521"/>
                    <a:gd name="connsiteY3" fmla="*/ 407932 h 420426"/>
                    <a:gd name="connsiteX4" fmla="*/ 288860 w 403521"/>
                    <a:gd name="connsiteY4" fmla="*/ 386616 h 420426"/>
                    <a:gd name="connsiteX5" fmla="*/ 275630 w 403521"/>
                    <a:gd name="connsiteY5" fmla="*/ 381471 h 420426"/>
                    <a:gd name="connsiteX6" fmla="*/ 266809 w 403521"/>
                    <a:gd name="connsiteY6" fmla="*/ 377796 h 420426"/>
                    <a:gd name="connsiteX7" fmla="*/ 187428 w 403521"/>
                    <a:gd name="connsiteY7" fmla="*/ 338840 h 420426"/>
                    <a:gd name="connsiteX8" fmla="*/ 178608 w 403521"/>
                    <a:gd name="connsiteY8" fmla="*/ 333695 h 420426"/>
                    <a:gd name="connsiteX9" fmla="*/ 162438 w 403521"/>
                    <a:gd name="connsiteY9" fmla="*/ 324140 h 420426"/>
                    <a:gd name="connsiteX10" fmla="*/ 158028 w 403521"/>
                    <a:gd name="connsiteY10" fmla="*/ 321200 h 420426"/>
                    <a:gd name="connsiteX11" fmla="*/ 45571 w 403521"/>
                    <a:gd name="connsiteY11" fmla="*/ 232999 h 420426"/>
                    <a:gd name="connsiteX12" fmla="*/ 38956 w 403521"/>
                    <a:gd name="connsiteY12" fmla="*/ 226384 h 420426"/>
                    <a:gd name="connsiteX13" fmla="*/ 22050 w 403521"/>
                    <a:gd name="connsiteY13" fmla="*/ 209478 h 420426"/>
                    <a:gd name="connsiteX14" fmla="*/ 0 w 403521"/>
                    <a:gd name="connsiteY14" fmla="*/ 185223 h 420426"/>
                    <a:gd name="connsiteX15" fmla="*/ 221974 w 403521"/>
                    <a:gd name="connsiteY15" fmla="*/ 115397 h 420426"/>
                    <a:gd name="connsiteX16" fmla="*/ 225649 w 403521"/>
                    <a:gd name="connsiteY16" fmla="*/ 103637 h 420426"/>
                    <a:gd name="connsiteX17" fmla="*/ 363831 w 403521"/>
                    <a:gd name="connsiteY17" fmla="*/ 0 h 420426"/>
                    <a:gd name="connsiteX18" fmla="*/ 363831 w 403521"/>
                    <a:gd name="connsiteY18" fmla="*/ 0 h 420426"/>
                    <a:gd name="connsiteX19" fmla="*/ 350601 w 403521"/>
                    <a:gd name="connsiteY19" fmla="*/ 151412 h 420426"/>
                    <a:gd name="connsiteX20" fmla="*/ 353541 w 403521"/>
                    <a:gd name="connsiteY20" fmla="*/ 163173 h 420426"/>
                    <a:gd name="connsiteX21" fmla="*/ 369711 w 403521"/>
                    <a:gd name="connsiteY21" fmla="*/ 242554 h 420426"/>
                    <a:gd name="connsiteX22" fmla="*/ 403522 w 403521"/>
                    <a:gd name="connsiteY22" fmla="*/ 420427 h 420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03521" h="420426">
                      <a:moveTo>
                        <a:pt x="403522" y="420427"/>
                      </a:moveTo>
                      <a:cubicBezTo>
                        <a:pt x="391761" y="418222"/>
                        <a:pt x="380001" y="415282"/>
                        <a:pt x="368241" y="412342"/>
                      </a:cubicBezTo>
                      <a:cubicBezTo>
                        <a:pt x="366036" y="411607"/>
                        <a:pt x="363831" y="410872"/>
                        <a:pt x="361626" y="410872"/>
                      </a:cubicBezTo>
                      <a:cubicBezTo>
                        <a:pt x="358686" y="410137"/>
                        <a:pt x="355746" y="409402"/>
                        <a:pt x="352071" y="407932"/>
                      </a:cubicBezTo>
                      <a:cubicBezTo>
                        <a:pt x="330755" y="402052"/>
                        <a:pt x="309440" y="394701"/>
                        <a:pt x="288860" y="386616"/>
                      </a:cubicBezTo>
                      <a:cubicBezTo>
                        <a:pt x="284450" y="385146"/>
                        <a:pt x="280040" y="382941"/>
                        <a:pt x="275630" y="381471"/>
                      </a:cubicBezTo>
                      <a:cubicBezTo>
                        <a:pt x="272689" y="380001"/>
                        <a:pt x="269749" y="379266"/>
                        <a:pt x="266809" y="377796"/>
                      </a:cubicBezTo>
                      <a:cubicBezTo>
                        <a:pt x="239614" y="366036"/>
                        <a:pt x="212418" y="353541"/>
                        <a:pt x="187428" y="338840"/>
                      </a:cubicBezTo>
                      <a:cubicBezTo>
                        <a:pt x="184488" y="337370"/>
                        <a:pt x="181548" y="335165"/>
                        <a:pt x="178608" y="333695"/>
                      </a:cubicBezTo>
                      <a:cubicBezTo>
                        <a:pt x="173463" y="330755"/>
                        <a:pt x="167583" y="327080"/>
                        <a:pt x="162438" y="324140"/>
                      </a:cubicBezTo>
                      <a:cubicBezTo>
                        <a:pt x="160968" y="323405"/>
                        <a:pt x="159498" y="321935"/>
                        <a:pt x="158028" y="321200"/>
                      </a:cubicBezTo>
                      <a:cubicBezTo>
                        <a:pt x="117602" y="295475"/>
                        <a:pt x="80116" y="266074"/>
                        <a:pt x="45571" y="232999"/>
                      </a:cubicBezTo>
                      <a:cubicBezTo>
                        <a:pt x="43366" y="230794"/>
                        <a:pt x="41161" y="228589"/>
                        <a:pt x="38956" y="226384"/>
                      </a:cubicBezTo>
                      <a:cubicBezTo>
                        <a:pt x="33076" y="220504"/>
                        <a:pt x="27930" y="215359"/>
                        <a:pt x="22050" y="209478"/>
                      </a:cubicBezTo>
                      <a:cubicBezTo>
                        <a:pt x="14700" y="201393"/>
                        <a:pt x="6615" y="193308"/>
                        <a:pt x="0" y="185223"/>
                      </a:cubicBezTo>
                      <a:lnTo>
                        <a:pt x="221974" y="115397"/>
                      </a:lnTo>
                      <a:lnTo>
                        <a:pt x="225649" y="103637"/>
                      </a:lnTo>
                      <a:lnTo>
                        <a:pt x="363831" y="0"/>
                      </a:lnTo>
                      <a:cubicBezTo>
                        <a:pt x="363831" y="0"/>
                        <a:pt x="363831" y="0"/>
                        <a:pt x="363831" y="0"/>
                      </a:cubicBezTo>
                      <a:cubicBezTo>
                        <a:pt x="362361" y="4410"/>
                        <a:pt x="335165" y="97022"/>
                        <a:pt x="350601" y="151412"/>
                      </a:cubicBezTo>
                      <a:cubicBezTo>
                        <a:pt x="351336" y="153617"/>
                        <a:pt x="352071" y="158028"/>
                        <a:pt x="353541" y="163173"/>
                      </a:cubicBezTo>
                      <a:cubicBezTo>
                        <a:pt x="357216" y="178608"/>
                        <a:pt x="363096" y="206538"/>
                        <a:pt x="369711" y="242554"/>
                      </a:cubicBezTo>
                      <a:cubicBezTo>
                        <a:pt x="378531" y="289595"/>
                        <a:pt x="390291" y="351336"/>
                        <a:pt x="403522" y="42042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7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ihandform: Form 242">
                  <a:extLst>
                    <a:ext uri="{FF2B5EF4-FFF2-40B4-BE49-F238E27FC236}">
                      <a16:creationId xmlns:a16="http://schemas.microsoft.com/office/drawing/2014/main" id="{8228B047-3D44-4596-AA27-FD391976B03A}"/>
                    </a:ext>
                  </a:extLst>
                </p:cNvPr>
                <p:cNvSpPr/>
                <p:nvPr/>
              </p:nvSpPr>
              <p:spPr>
                <a:xfrm>
                  <a:off x="5896465" y="4124742"/>
                  <a:ext cx="424101" cy="429982"/>
                </a:xfrm>
                <a:custGeom>
                  <a:avLst/>
                  <a:gdLst>
                    <a:gd name="connsiteX0" fmla="*/ 424102 w 424101"/>
                    <a:gd name="connsiteY0" fmla="*/ 210948 h 429982"/>
                    <a:gd name="connsiteX1" fmla="*/ 412342 w 424101"/>
                    <a:gd name="connsiteY1" fmla="*/ 223444 h 429982"/>
                    <a:gd name="connsiteX2" fmla="*/ 395436 w 424101"/>
                    <a:gd name="connsiteY2" fmla="*/ 239614 h 429982"/>
                    <a:gd name="connsiteX3" fmla="*/ 286655 w 424101"/>
                    <a:gd name="connsiteY3" fmla="*/ 323405 h 429982"/>
                    <a:gd name="connsiteX4" fmla="*/ 272689 w 424101"/>
                    <a:gd name="connsiteY4" fmla="*/ 332225 h 429982"/>
                    <a:gd name="connsiteX5" fmla="*/ 206538 w 424101"/>
                    <a:gd name="connsiteY5" fmla="*/ 367506 h 429982"/>
                    <a:gd name="connsiteX6" fmla="*/ 196983 w 424101"/>
                    <a:gd name="connsiteY6" fmla="*/ 371916 h 429982"/>
                    <a:gd name="connsiteX7" fmla="*/ 190368 w 424101"/>
                    <a:gd name="connsiteY7" fmla="*/ 374856 h 429982"/>
                    <a:gd name="connsiteX8" fmla="*/ 119807 w 424101"/>
                    <a:gd name="connsiteY8" fmla="*/ 402052 h 429982"/>
                    <a:gd name="connsiteX9" fmla="*/ 110987 w 424101"/>
                    <a:gd name="connsiteY9" fmla="*/ 404992 h 429982"/>
                    <a:gd name="connsiteX10" fmla="*/ 66151 w 424101"/>
                    <a:gd name="connsiteY10" fmla="*/ 417487 h 429982"/>
                    <a:gd name="connsiteX11" fmla="*/ 0 w 424101"/>
                    <a:gd name="connsiteY11" fmla="*/ 429982 h 429982"/>
                    <a:gd name="connsiteX12" fmla="*/ 27930 w 424101"/>
                    <a:gd name="connsiteY12" fmla="*/ 270484 h 429982"/>
                    <a:gd name="connsiteX13" fmla="*/ 47041 w 424101"/>
                    <a:gd name="connsiteY13" fmla="*/ 166113 h 429982"/>
                    <a:gd name="connsiteX14" fmla="*/ 49981 w 424101"/>
                    <a:gd name="connsiteY14" fmla="*/ 154353 h 429982"/>
                    <a:gd name="connsiteX15" fmla="*/ 46306 w 424101"/>
                    <a:gd name="connsiteY15" fmla="*/ 7350 h 429982"/>
                    <a:gd name="connsiteX16" fmla="*/ 46306 w 424101"/>
                    <a:gd name="connsiteY16" fmla="*/ 7350 h 429982"/>
                    <a:gd name="connsiteX17" fmla="*/ 46306 w 424101"/>
                    <a:gd name="connsiteY17" fmla="*/ 7350 h 429982"/>
                    <a:gd name="connsiteX18" fmla="*/ 46306 w 424101"/>
                    <a:gd name="connsiteY18" fmla="*/ 6615 h 429982"/>
                    <a:gd name="connsiteX19" fmla="*/ 46306 w 424101"/>
                    <a:gd name="connsiteY19" fmla="*/ 6615 h 429982"/>
                    <a:gd name="connsiteX20" fmla="*/ 46306 w 424101"/>
                    <a:gd name="connsiteY20" fmla="*/ 6615 h 429982"/>
                    <a:gd name="connsiteX21" fmla="*/ 44836 w 424101"/>
                    <a:gd name="connsiteY21" fmla="*/ 0 h 429982"/>
                    <a:gd name="connsiteX22" fmla="*/ 44836 w 424101"/>
                    <a:gd name="connsiteY22" fmla="*/ 0 h 429982"/>
                    <a:gd name="connsiteX23" fmla="*/ 46306 w 424101"/>
                    <a:gd name="connsiteY23" fmla="*/ 1470 h 429982"/>
                    <a:gd name="connsiteX24" fmla="*/ 46306 w 424101"/>
                    <a:gd name="connsiteY24" fmla="*/ 1470 h 429982"/>
                    <a:gd name="connsiteX25" fmla="*/ 171258 w 424101"/>
                    <a:gd name="connsiteY25" fmla="*/ 104372 h 429982"/>
                    <a:gd name="connsiteX26" fmla="*/ 424102 w 424101"/>
                    <a:gd name="connsiteY26" fmla="*/ 210948 h 429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424101" h="429982">
                      <a:moveTo>
                        <a:pt x="424102" y="210948"/>
                      </a:moveTo>
                      <a:cubicBezTo>
                        <a:pt x="419692" y="215358"/>
                        <a:pt x="416017" y="219033"/>
                        <a:pt x="412342" y="223444"/>
                      </a:cubicBezTo>
                      <a:cubicBezTo>
                        <a:pt x="407197" y="229324"/>
                        <a:pt x="401317" y="234469"/>
                        <a:pt x="395436" y="239614"/>
                      </a:cubicBezTo>
                      <a:cubicBezTo>
                        <a:pt x="361626" y="271219"/>
                        <a:pt x="325610" y="299150"/>
                        <a:pt x="286655" y="323405"/>
                      </a:cubicBezTo>
                      <a:cubicBezTo>
                        <a:pt x="282245" y="326345"/>
                        <a:pt x="277835" y="329285"/>
                        <a:pt x="272689" y="332225"/>
                      </a:cubicBezTo>
                      <a:cubicBezTo>
                        <a:pt x="251374" y="345456"/>
                        <a:pt x="229324" y="356481"/>
                        <a:pt x="206538" y="367506"/>
                      </a:cubicBezTo>
                      <a:cubicBezTo>
                        <a:pt x="203598" y="368976"/>
                        <a:pt x="200658" y="370446"/>
                        <a:pt x="196983" y="371916"/>
                      </a:cubicBezTo>
                      <a:cubicBezTo>
                        <a:pt x="194778" y="372651"/>
                        <a:pt x="192573" y="374121"/>
                        <a:pt x="190368" y="374856"/>
                      </a:cubicBezTo>
                      <a:cubicBezTo>
                        <a:pt x="167583" y="385146"/>
                        <a:pt x="144062" y="393966"/>
                        <a:pt x="119807" y="402052"/>
                      </a:cubicBezTo>
                      <a:cubicBezTo>
                        <a:pt x="116867" y="402787"/>
                        <a:pt x="113927" y="404257"/>
                        <a:pt x="110987" y="404992"/>
                      </a:cubicBezTo>
                      <a:cubicBezTo>
                        <a:pt x="96287" y="409402"/>
                        <a:pt x="81586" y="413812"/>
                        <a:pt x="66151" y="417487"/>
                      </a:cubicBezTo>
                      <a:cubicBezTo>
                        <a:pt x="44836" y="422632"/>
                        <a:pt x="22050" y="427042"/>
                        <a:pt x="0" y="429982"/>
                      </a:cubicBezTo>
                      <a:cubicBezTo>
                        <a:pt x="10290" y="369711"/>
                        <a:pt x="19845" y="314585"/>
                        <a:pt x="27930" y="270484"/>
                      </a:cubicBezTo>
                      <a:cubicBezTo>
                        <a:pt x="36751" y="221974"/>
                        <a:pt x="43366" y="185223"/>
                        <a:pt x="47041" y="166113"/>
                      </a:cubicBezTo>
                      <a:cubicBezTo>
                        <a:pt x="48511" y="160233"/>
                        <a:pt x="49246" y="156557"/>
                        <a:pt x="49981" y="154353"/>
                      </a:cubicBezTo>
                      <a:cubicBezTo>
                        <a:pt x="63211" y="108047"/>
                        <a:pt x="50716" y="32340"/>
                        <a:pt x="46306" y="7350"/>
                      </a:cubicBezTo>
                      <a:cubicBezTo>
                        <a:pt x="46306" y="7350"/>
                        <a:pt x="46306" y="7350"/>
                        <a:pt x="46306" y="7350"/>
                      </a:cubicBezTo>
                      <a:cubicBezTo>
                        <a:pt x="46306" y="7350"/>
                        <a:pt x="46306" y="7350"/>
                        <a:pt x="46306" y="7350"/>
                      </a:cubicBezTo>
                      <a:cubicBezTo>
                        <a:pt x="46306" y="7350"/>
                        <a:pt x="46306" y="6615"/>
                        <a:pt x="46306" y="6615"/>
                      </a:cubicBezTo>
                      <a:lnTo>
                        <a:pt x="46306" y="6615"/>
                      </a:lnTo>
                      <a:cubicBezTo>
                        <a:pt x="46306" y="6615"/>
                        <a:pt x="46306" y="6615"/>
                        <a:pt x="46306" y="6615"/>
                      </a:cubicBezTo>
                      <a:cubicBezTo>
                        <a:pt x="45571" y="2940"/>
                        <a:pt x="44836" y="735"/>
                        <a:pt x="44836" y="0"/>
                      </a:cubicBezTo>
                      <a:cubicBezTo>
                        <a:pt x="44836" y="0"/>
                        <a:pt x="44836" y="0"/>
                        <a:pt x="44836" y="0"/>
                      </a:cubicBezTo>
                      <a:lnTo>
                        <a:pt x="46306" y="1470"/>
                      </a:lnTo>
                      <a:lnTo>
                        <a:pt x="46306" y="1470"/>
                      </a:lnTo>
                      <a:lnTo>
                        <a:pt x="171258" y="104372"/>
                      </a:lnTo>
                      <a:lnTo>
                        <a:pt x="424102" y="210948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7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44" name="Freihandform: Form 243">
                <a:extLst>
                  <a:ext uri="{FF2B5EF4-FFF2-40B4-BE49-F238E27FC236}">
                    <a16:creationId xmlns:a16="http://schemas.microsoft.com/office/drawing/2014/main" id="{BCC57394-8312-4EE7-8C46-A3EB28E7046C}"/>
                  </a:ext>
                </a:extLst>
              </p:cNvPr>
              <p:cNvSpPr/>
              <p:nvPr/>
            </p:nvSpPr>
            <p:spPr>
              <a:xfrm>
                <a:off x="5394452" y="4273950"/>
                <a:ext cx="84526" cy="191103"/>
              </a:xfrm>
              <a:custGeom>
                <a:avLst/>
                <a:gdLst>
                  <a:gd name="connsiteX0" fmla="*/ 9555 w 84526"/>
                  <a:gd name="connsiteY0" fmla="*/ 105107 h 191103"/>
                  <a:gd name="connsiteX1" fmla="*/ 32341 w 84526"/>
                  <a:gd name="connsiteY1" fmla="*/ 191103 h 191103"/>
                  <a:gd name="connsiteX2" fmla="*/ 23520 w 84526"/>
                  <a:gd name="connsiteY2" fmla="*/ 185958 h 191103"/>
                  <a:gd name="connsiteX3" fmla="*/ 2205 w 84526"/>
                  <a:gd name="connsiteY3" fmla="*/ 107312 h 191103"/>
                  <a:gd name="connsiteX4" fmla="*/ 0 w 84526"/>
                  <a:gd name="connsiteY4" fmla="*/ 99227 h 191103"/>
                  <a:gd name="connsiteX5" fmla="*/ 69826 w 84526"/>
                  <a:gd name="connsiteY5" fmla="*/ 67621 h 191103"/>
                  <a:gd name="connsiteX6" fmla="*/ 37486 w 84526"/>
                  <a:gd name="connsiteY6" fmla="*/ 46306 h 191103"/>
                  <a:gd name="connsiteX7" fmla="*/ 52186 w 84526"/>
                  <a:gd name="connsiteY7" fmla="*/ 0 h 191103"/>
                  <a:gd name="connsiteX8" fmla="*/ 58801 w 84526"/>
                  <a:gd name="connsiteY8" fmla="*/ 2205 h 191103"/>
                  <a:gd name="connsiteX9" fmla="*/ 45571 w 84526"/>
                  <a:gd name="connsiteY9" fmla="*/ 43366 h 191103"/>
                  <a:gd name="connsiteX10" fmla="*/ 84526 w 84526"/>
                  <a:gd name="connsiteY10" fmla="*/ 69091 h 191103"/>
                  <a:gd name="connsiteX11" fmla="*/ 8085 w 84526"/>
                  <a:gd name="connsiteY11" fmla="*/ 103637 h 191103"/>
                  <a:gd name="connsiteX12" fmla="*/ 9555 w 84526"/>
                  <a:gd name="connsiteY12" fmla="*/ 105107 h 1911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526" h="191103">
                    <a:moveTo>
                      <a:pt x="9555" y="105107"/>
                    </a:moveTo>
                    <a:cubicBezTo>
                      <a:pt x="17640" y="136712"/>
                      <a:pt x="24990" y="164643"/>
                      <a:pt x="32341" y="191103"/>
                    </a:cubicBezTo>
                    <a:cubicBezTo>
                      <a:pt x="29400" y="189633"/>
                      <a:pt x="26460" y="187428"/>
                      <a:pt x="23520" y="185958"/>
                    </a:cubicBezTo>
                    <a:cubicBezTo>
                      <a:pt x="16905" y="161703"/>
                      <a:pt x="10290" y="135977"/>
                      <a:pt x="2205" y="107312"/>
                    </a:cubicBezTo>
                    <a:lnTo>
                      <a:pt x="0" y="99227"/>
                    </a:lnTo>
                    <a:lnTo>
                      <a:pt x="69826" y="67621"/>
                    </a:lnTo>
                    <a:lnTo>
                      <a:pt x="37486" y="46306"/>
                    </a:lnTo>
                    <a:lnTo>
                      <a:pt x="52186" y="0"/>
                    </a:lnTo>
                    <a:lnTo>
                      <a:pt x="58801" y="2205"/>
                    </a:lnTo>
                    <a:lnTo>
                      <a:pt x="45571" y="43366"/>
                    </a:lnTo>
                    <a:lnTo>
                      <a:pt x="84526" y="69091"/>
                    </a:lnTo>
                    <a:lnTo>
                      <a:pt x="8085" y="103637"/>
                    </a:lnTo>
                    <a:lnTo>
                      <a:pt x="9555" y="105107"/>
                    </a:lnTo>
                    <a:close/>
                  </a:path>
                </a:pathLst>
              </a:custGeom>
              <a:solidFill>
                <a:schemeClr val="accent3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Freihandform: Form 244">
                <a:extLst>
                  <a:ext uri="{FF2B5EF4-FFF2-40B4-BE49-F238E27FC236}">
                    <a16:creationId xmlns:a16="http://schemas.microsoft.com/office/drawing/2014/main" id="{EE96D6A9-588E-4190-81B8-C0D15654BCF8}"/>
                  </a:ext>
                </a:extLst>
              </p:cNvPr>
              <p:cNvSpPr/>
              <p:nvPr/>
            </p:nvSpPr>
            <p:spPr>
              <a:xfrm>
                <a:off x="6045673" y="4254104"/>
                <a:ext cx="97021" cy="242553"/>
              </a:xfrm>
              <a:custGeom>
                <a:avLst/>
                <a:gdLst>
                  <a:gd name="connsiteX0" fmla="*/ 97022 w 97021"/>
                  <a:gd name="connsiteY0" fmla="*/ 119072 h 242553"/>
                  <a:gd name="connsiteX1" fmla="*/ 96287 w 97021"/>
                  <a:gd name="connsiteY1" fmla="*/ 122747 h 242553"/>
                  <a:gd name="connsiteX2" fmla="*/ 58066 w 97021"/>
                  <a:gd name="connsiteY2" fmla="*/ 238144 h 242553"/>
                  <a:gd name="connsiteX3" fmla="*/ 48511 w 97021"/>
                  <a:gd name="connsiteY3" fmla="*/ 242554 h 242553"/>
                  <a:gd name="connsiteX4" fmla="*/ 88201 w 97021"/>
                  <a:gd name="connsiteY4" fmla="*/ 124217 h 242553"/>
                  <a:gd name="connsiteX5" fmla="*/ 42631 w 97021"/>
                  <a:gd name="connsiteY5" fmla="*/ 107312 h 242553"/>
                  <a:gd name="connsiteX6" fmla="*/ 0 w 97021"/>
                  <a:gd name="connsiteY6" fmla="*/ 91142 h 242553"/>
                  <a:gd name="connsiteX7" fmla="*/ 42631 w 97021"/>
                  <a:gd name="connsiteY7" fmla="*/ 68356 h 242553"/>
                  <a:gd name="connsiteX8" fmla="*/ 51451 w 97021"/>
                  <a:gd name="connsiteY8" fmla="*/ 63211 h 242553"/>
                  <a:gd name="connsiteX9" fmla="*/ 37486 w 97021"/>
                  <a:gd name="connsiteY9" fmla="*/ 1470 h 242553"/>
                  <a:gd name="connsiteX10" fmla="*/ 44836 w 97021"/>
                  <a:gd name="connsiteY10" fmla="*/ 0 h 242553"/>
                  <a:gd name="connsiteX11" fmla="*/ 60271 w 97021"/>
                  <a:gd name="connsiteY11" fmla="*/ 66886 h 242553"/>
                  <a:gd name="connsiteX12" fmla="*/ 42631 w 97021"/>
                  <a:gd name="connsiteY12" fmla="*/ 76441 h 242553"/>
                  <a:gd name="connsiteX13" fmla="*/ 17640 w 97021"/>
                  <a:gd name="connsiteY13" fmla="*/ 89671 h 242553"/>
                  <a:gd name="connsiteX14" fmla="*/ 42631 w 97021"/>
                  <a:gd name="connsiteY14" fmla="*/ 99227 h 242553"/>
                  <a:gd name="connsiteX15" fmla="*/ 97022 w 97021"/>
                  <a:gd name="connsiteY15" fmla="*/ 119072 h 242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7021" h="242553">
                    <a:moveTo>
                      <a:pt x="97022" y="119072"/>
                    </a:moveTo>
                    <a:lnTo>
                      <a:pt x="96287" y="122747"/>
                    </a:lnTo>
                    <a:cubicBezTo>
                      <a:pt x="82321" y="165378"/>
                      <a:pt x="70561" y="202863"/>
                      <a:pt x="58066" y="238144"/>
                    </a:cubicBezTo>
                    <a:cubicBezTo>
                      <a:pt x="55126" y="239614"/>
                      <a:pt x="52186" y="241084"/>
                      <a:pt x="48511" y="242554"/>
                    </a:cubicBezTo>
                    <a:cubicBezTo>
                      <a:pt x="61006" y="205803"/>
                      <a:pt x="73501" y="167583"/>
                      <a:pt x="88201" y="124217"/>
                    </a:cubicBezTo>
                    <a:lnTo>
                      <a:pt x="42631" y="107312"/>
                    </a:lnTo>
                    <a:lnTo>
                      <a:pt x="0" y="91142"/>
                    </a:lnTo>
                    <a:lnTo>
                      <a:pt x="42631" y="68356"/>
                    </a:lnTo>
                    <a:lnTo>
                      <a:pt x="51451" y="63211"/>
                    </a:lnTo>
                    <a:lnTo>
                      <a:pt x="37486" y="1470"/>
                    </a:lnTo>
                    <a:lnTo>
                      <a:pt x="44836" y="0"/>
                    </a:lnTo>
                    <a:lnTo>
                      <a:pt x="60271" y="66886"/>
                    </a:lnTo>
                    <a:lnTo>
                      <a:pt x="42631" y="76441"/>
                    </a:lnTo>
                    <a:lnTo>
                      <a:pt x="17640" y="89671"/>
                    </a:lnTo>
                    <a:lnTo>
                      <a:pt x="42631" y="99227"/>
                    </a:lnTo>
                    <a:lnTo>
                      <a:pt x="97022" y="119072"/>
                    </a:lnTo>
                    <a:close/>
                  </a:path>
                </a:pathLst>
              </a:custGeom>
              <a:solidFill>
                <a:schemeClr val="accent3"/>
              </a:solidFill>
              <a:ln w="7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7" name="Gruppieren 216">
            <a:extLst>
              <a:ext uri="{FF2B5EF4-FFF2-40B4-BE49-F238E27FC236}">
                <a16:creationId xmlns:a16="http://schemas.microsoft.com/office/drawing/2014/main" id="{9804106C-F4B4-4456-BCA0-610CE96AE28B}"/>
              </a:ext>
            </a:extLst>
          </p:cNvPr>
          <p:cNvGrpSpPr/>
          <p:nvPr/>
        </p:nvGrpSpPr>
        <p:grpSpPr>
          <a:xfrm>
            <a:off x="4648377" y="4013148"/>
            <a:ext cx="749916" cy="750666"/>
            <a:chOff x="4493596" y="3953440"/>
            <a:chExt cx="1049954" cy="1051004"/>
          </a:xfrm>
        </p:grpSpPr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AA28B02C-539F-498D-918E-22C209698CA8}"/>
                </a:ext>
              </a:extLst>
            </p:cNvPr>
            <p:cNvGrpSpPr/>
            <p:nvPr/>
          </p:nvGrpSpPr>
          <p:grpSpPr>
            <a:xfrm>
              <a:off x="4493596" y="3953440"/>
              <a:ext cx="1049954" cy="1051004"/>
              <a:chOff x="4674413" y="4134438"/>
              <a:chExt cx="688320" cy="689008"/>
            </a:xfrm>
          </p:grpSpPr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F37613BF-247F-4FFB-A4B7-A04C163AF7B8}"/>
                  </a:ext>
                </a:extLst>
              </p:cNvPr>
              <p:cNvSpPr/>
              <p:nvPr/>
            </p:nvSpPr>
            <p:spPr>
              <a:xfrm>
                <a:off x="4674413" y="4134438"/>
                <a:ext cx="688320" cy="689008"/>
              </a:xfrm>
              <a:custGeom>
                <a:avLst/>
                <a:gdLst>
                  <a:gd name="connsiteX0" fmla="*/ 688320 w 688320"/>
                  <a:gd name="connsiteY0" fmla="*/ 344160 h 689008"/>
                  <a:gd name="connsiteX1" fmla="*/ 609163 w 688320"/>
                  <a:gd name="connsiteY1" fmla="*/ 563734 h 689008"/>
                  <a:gd name="connsiteX2" fmla="*/ 608475 w 688320"/>
                  <a:gd name="connsiteY2" fmla="*/ 564422 h 689008"/>
                  <a:gd name="connsiteX3" fmla="*/ 605377 w 688320"/>
                  <a:gd name="connsiteY3" fmla="*/ 567864 h 689008"/>
                  <a:gd name="connsiteX4" fmla="*/ 601592 w 688320"/>
                  <a:gd name="connsiteY4" fmla="*/ 572338 h 689008"/>
                  <a:gd name="connsiteX5" fmla="*/ 592299 w 688320"/>
                  <a:gd name="connsiteY5" fmla="*/ 582663 h 689008"/>
                  <a:gd name="connsiteX6" fmla="*/ 586449 w 688320"/>
                  <a:gd name="connsiteY6" fmla="*/ 588514 h 689008"/>
                  <a:gd name="connsiteX7" fmla="*/ 578533 w 688320"/>
                  <a:gd name="connsiteY7" fmla="*/ 596085 h 689008"/>
                  <a:gd name="connsiteX8" fmla="*/ 527597 w 688320"/>
                  <a:gd name="connsiteY8" fmla="*/ 635319 h 689008"/>
                  <a:gd name="connsiteX9" fmla="*/ 521058 w 688320"/>
                  <a:gd name="connsiteY9" fmla="*/ 639449 h 689008"/>
                  <a:gd name="connsiteX10" fmla="*/ 449817 w 688320"/>
                  <a:gd name="connsiteY10" fmla="*/ 671800 h 689008"/>
                  <a:gd name="connsiteX11" fmla="*/ 445687 w 688320"/>
                  <a:gd name="connsiteY11" fmla="*/ 673177 h 689008"/>
                  <a:gd name="connsiteX12" fmla="*/ 443966 w 688320"/>
                  <a:gd name="connsiteY12" fmla="*/ 673865 h 689008"/>
                  <a:gd name="connsiteX13" fmla="*/ 439837 w 688320"/>
                  <a:gd name="connsiteY13" fmla="*/ 675242 h 689008"/>
                  <a:gd name="connsiteX14" fmla="*/ 425038 w 688320"/>
                  <a:gd name="connsiteY14" fmla="*/ 679372 h 689008"/>
                  <a:gd name="connsiteX15" fmla="*/ 383394 w 688320"/>
                  <a:gd name="connsiteY15" fmla="*/ 686599 h 689008"/>
                  <a:gd name="connsiteX16" fmla="*/ 382362 w 688320"/>
                  <a:gd name="connsiteY16" fmla="*/ 686599 h 689008"/>
                  <a:gd name="connsiteX17" fmla="*/ 378576 w 688320"/>
                  <a:gd name="connsiteY17" fmla="*/ 686943 h 689008"/>
                  <a:gd name="connsiteX18" fmla="*/ 376511 w 688320"/>
                  <a:gd name="connsiteY18" fmla="*/ 687288 h 689008"/>
                  <a:gd name="connsiteX19" fmla="*/ 371693 w 688320"/>
                  <a:gd name="connsiteY19" fmla="*/ 687632 h 689008"/>
                  <a:gd name="connsiteX20" fmla="*/ 357582 w 688320"/>
                  <a:gd name="connsiteY20" fmla="*/ 688664 h 689008"/>
                  <a:gd name="connsiteX21" fmla="*/ 343816 w 688320"/>
                  <a:gd name="connsiteY21" fmla="*/ 689008 h 689008"/>
                  <a:gd name="connsiteX22" fmla="*/ 342095 w 688320"/>
                  <a:gd name="connsiteY22" fmla="*/ 689008 h 689008"/>
                  <a:gd name="connsiteX23" fmla="*/ 340718 w 688320"/>
                  <a:gd name="connsiteY23" fmla="*/ 689008 h 689008"/>
                  <a:gd name="connsiteX24" fmla="*/ 324543 w 688320"/>
                  <a:gd name="connsiteY24" fmla="*/ 688320 h 689008"/>
                  <a:gd name="connsiteX25" fmla="*/ 308023 w 688320"/>
                  <a:gd name="connsiteY25" fmla="*/ 686943 h 689008"/>
                  <a:gd name="connsiteX26" fmla="*/ 295978 w 688320"/>
                  <a:gd name="connsiteY26" fmla="*/ 685567 h 689008"/>
                  <a:gd name="connsiteX27" fmla="*/ 293224 w 688320"/>
                  <a:gd name="connsiteY27" fmla="*/ 685223 h 689008"/>
                  <a:gd name="connsiteX28" fmla="*/ 290127 w 688320"/>
                  <a:gd name="connsiteY28" fmla="*/ 684878 h 689008"/>
                  <a:gd name="connsiteX29" fmla="*/ 288406 w 688320"/>
                  <a:gd name="connsiteY29" fmla="*/ 684534 h 689008"/>
                  <a:gd name="connsiteX30" fmla="*/ 257776 w 688320"/>
                  <a:gd name="connsiteY30" fmla="*/ 678339 h 689008"/>
                  <a:gd name="connsiteX31" fmla="*/ 254678 w 688320"/>
                  <a:gd name="connsiteY31" fmla="*/ 677651 h 689008"/>
                  <a:gd name="connsiteX32" fmla="*/ 250204 w 688320"/>
                  <a:gd name="connsiteY32" fmla="*/ 676274 h 689008"/>
                  <a:gd name="connsiteX33" fmla="*/ 220951 w 688320"/>
                  <a:gd name="connsiteY33" fmla="*/ 666638 h 689008"/>
                  <a:gd name="connsiteX34" fmla="*/ 216821 w 688320"/>
                  <a:gd name="connsiteY34" fmla="*/ 664917 h 689008"/>
                  <a:gd name="connsiteX35" fmla="*/ 214756 w 688320"/>
                  <a:gd name="connsiteY35" fmla="*/ 663885 h 689008"/>
                  <a:gd name="connsiteX36" fmla="*/ 210626 w 688320"/>
                  <a:gd name="connsiteY36" fmla="*/ 662164 h 689008"/>
                  <a:gd name="connsiteX37" fmla="*/ 161411 w 688320"/>
                  <a:gd name="connsiteY37" fmla="*/ 636696 h 689008"/>
                  <a:gd name="connsiteX38" fmla="*/ 159346 w 688320"/>
                  <a:gd name="connsiteY38" fmla="*/ 635319 h 689008"/>
                  <a:gd name="connsiteX39" fmla="*/ 107378 w 688320"/>
                  <a:gd name="connsiteY39" fmla="*/ 593676 h 689008"/>
                  <a:gd name="connsiteX40" fmla="*/ 104280 w 688320"/>
                  <a:gd name="connsiteY40" fmla="*/ 590579 h 689008"/>
                  <a:gd name="connsiteX41" fmla="*/ 96365 w 688320"/>
                  <a:gd name="connsiteY41" fmla="*/ 582663 h 689008"/>
                  <a:gd name="connsiteX42" fmla="*/ 77780 w 688320"/>
                  <a:gd name="connsiteY42" fmla="*/ 562013 h 689008"/>
                  <a:gd name="connsiteX43" fmla="*/ 75027 w 688320"/>
                  <a:gd name="connsiteY43" fmla="*/ 558572 h 689008"/>
                  <a:gd name="connsiteX44" fmla="*/ 74683 w 688320"/>
                  <a:gd name="connsiteY44" fmla="*/ 558228 h 689008"/>
                  <a:gd name="connsiteX45" fmla="*/ 73650 w 688320"/>
                  <a:gd name="connsiteY45" fmla="*/ 556851 h 689008"/>
                  <a:gd name="connsiteX46" fmla="*/ 0 w 688320"/>
                  <a:gd name="connsiteY46" fmla="*/ 344160 h 689008"/>
                  <a:gd name="connsiteX47" fmla="*/ 344160 w 688320"/>
                  <a:gd name="connsiteY47" fmla="*/ 0 h 689008"/>
                  <a:gd name="connsiteX48" fmla="*/ 688320 w 688320"/>
                  <a:gd name="connsiteY48" fmla="*/ 344160 h 689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88320" h="689008">
                    <a:moveTo>
                      <a:pt x="688320" y="344160"/>
                    </a:moveTo>
                    <a:cubicBezTo>
                      <a:pt x="688320" y="427791"/>
                      <a:pt x="658722" y="504194"/>
                      <a:pt x="609163" y="563734"/>
                    </a:cubicBezTo>
                    <a:cubicBezTo>
                      <a:pt x="608819" y="564078"/>
                      <a:pt x="608819" y="564078"/>
                      <a:pt x="608475" y="564422"/>
                    </a:cubicBezTo>
                    <a:cubicBezTo>
                      <a:pt x="607442" y="565455"/>
                      <a:pt x="606410" y="566832"/>
                      <a:pt x="605377" y="567864"/>
                    </a:cubicBezTo>
                    <a:cubicBezTo>
                      <a:pt x="604001" y="569241"/>
                      <a:pt x="602624" y="570961"/>
                      <a:pt x="601592" y="572338"/>
                    </a:cubicBezTo>
                    <a:cubicBezTo>
                      <a:pt x="598494" y="575780"/>
                      <a:pt x="595397" y="579221"/>
                      <a:pt x="592299" y="582663"/>
                    </a:cubicBezTo>
                    <a:cubicBezTo>
                      <a:pt x="590234" y="584728"/>
                      <a:pt x="588514" y="586793"/>
                      <a:pt x="586449" y="588514"/>
                    </a:cubicBezTo>
                    <a:cubicBezTo>
                      <a:pt x="584040" y="591267"/>
                      <a:pt x="581286" y="593676"/>
                      <a:pt x="578533" y="596085"/>
                    </a:cubicBezTo>
                    <a:cubicBezTo>
                      <a:pt x="562702" y="610884"/>
                      <a:pt x="545838" y="623962"/>
                      <a:pt x="527597" y="635319"/>
                    </a:cubicBezTo>
                    <a:cubicBezTo>
                      <a:pt x="525532" y="636696"/>
                      <a:pt x="523467" y="638073"/>
                      <a:pt x="521058" y="639449"/>
                    </a:cubicBezTo>
                    <a:cubicBezTo>
                      <a:pt x="498688" y="652872"/>
                      <a:pt x="474941" y="663885"/>
                      <a:pt x="449817" y="671800"/>
                    </a:cubicBezTo>
                    <a:cubicBezTo>
                      <a:pt x="448441" y="672145"/>
                      <a:pt x="447064" y="672833"/>
                      <a:pt x="445687" y="673177"/>
                    </a:cubicBezTo>
                    <a:cubicBezTo>
                      <a:pt x="444999" y="673177"/>
                      <a:pt x="444311" y="673521"/>
                      <a:pt x="443966" y="673865"/>
                    </a:cubicBezTo>
                    <a:cubicBezTo>
                      <a:pt x="442590" y="674209"/>
                      <a:pt x="441213" y="674898"/>
                      <a:pt x="439837" y="675242"/>
                    </a:cubicBezTo>
                    <a:cubicBezTo>
                      <a:pt x="435018" y="676619"/>
                      <a:pt x="429856" y="677995"/>
                      <a:pt x="425038" y="679372"/>
                    </a:cubicBezTo>
                    <a:cubicBezTo>
                      <a:pt x="411615" y="682469"/>
                      <a:pt x="397505" y="685223"/>
                      <a:pt x="383394" y="686599"/>
                    </a:cubicBezTo>
                    <a:cubicBezTo>
                      <a:pt x="383050" y="686599"/>
                      <a:pt x="382706" y="686599"/>
                      <a:pt x="382362" y="686599"/>
                    </a:cubicBezTo>
                    <a:cubicBezTo>
                      <a:pt x="380985" y="686599"/>
                      <a:pt x="379609" y="686943"/>
                      <a:pt x="378576" y="686943"/>
                    </a:cubicBezTo>
                    <a:cubicBezTo>
                      <a:pt x="377888" y="686943"/>
                      <a:pt x="377199" y="686943"/>
                      <a:pt x="376511" y="687288"/>
                    </a:cubicBezTo>
                    <a:cubicBezTo>
                      <a:pt x="374790" y="687632"/>
                      <a:pt x="373069" y="687632"/>
                      <a:pt x="371693" y="687632"/>
                    </a:cubicBezTo>
                    <a:cubicBezTo>
                      <a:pt x="367219" y="687976"/>
                      <a:pt x="362401" y="688320"/>
                      <a:pt x="357582" y="688664"/>
                    </a:cubicBezTo>
                    <a:cubicBezTo>
                      <a:pt x="353108" y="688664"/>
                      <a:pt x="348634" y="689008"/>
                      <a:pt x="343816" y="689008"/>
                    </a:cubicBezTo>
                    <a:cubicBezTo>
                      <a:pt x="343128" y="689008"/>
                      <a:pt x="342783" y="689008"/>
                      <a:pt x="342095" y="689008"/>
                    </a:cubicBezTo>
                    <a:cubicBezTo>
                      <a:pt x="341751" y="689008"/>
                      <a:pt x="341063" y="689008"/>
                      <a:pt x="340718" y="689008"/>
                    </a:cubicBezTo>
                    <a:cubicBezTo>
                      <a:pt x="335212" y="689008"/>
                      <a:pt x="329705" y="688664"/>
                      <a:pt x="324543" y="688320"/>
                    </a:cubicBezTo>
                    <a:cubicBezTo>
                      <a:pt x="319036" y="687976"/>
                      <a:pt x="313530" y="687632"/>
                      <a:pt x="308023" y="686943"/>
                    </a:cubicBezTo>
                    <a:cubicBezTo>
                      <a:pt x="303893" y="686599"/>
                      <a:pt x="300108" y="685911"/>
                      <a:pt x="295978" y="685567"/>
                    </a:cubicBezTo>
                    <a:cubicBezTo>
                      <a:pt x="294945" y="685567"/>
                      <a:pt x="294257" y="685223"/>
                      <a:pt x="293224" y="685223"/>
                    </a:cubicBezTo>
                    <a:cubicBezTo>
                      <a:pt x="292192" y="685223"/>
                      <a:pt x="291159" y="684878"/>
                      <a:pt x="290127" y="684878"/>
                    </a:cubicBezTo>
                    <a:cubicBezTo>
                      <a:pt x="289783" y="684878"/>
                      <a:pt x="289094" y="684878"/>
                      <a:pt x="288406" y="684534"/>
                    </a:cubicBezTo>
                    <a:cubicBezTo>
                      <a:pt x="278081" y="682813"/>
                      <a:pt x="267757" y="680749"/>
                      <a:pt x="257776" y="678339"/>
                    </a:cubicBezTo>
                    <a:cubicBezTo>
                      <a:pt x="256743" y="677995"/>
                      <a:pt x="255711" y="677651"/>
                      <a:pt x="254678" y="677651"/>
                    </a:cubicBezTo>
                    <a:cubicBezTo>
                      <a:pt x="253302" y="677307"/>
                      <a:pt x="251925" y="676963"/>
                      <a:pt x="250204" y="676274"/>
                    </a:cubicBezTo>
                    <a:cubicBezTo>
                      <a:pt x="240224" y="673521"/>
                      <a:pt x="230587" y="670080"/>
                      <a:pt x="220951" y="666638"/>
                    </a:cubicBezTo>
                    <a:cubicBezTo>
                      <a:pt x="219574" y="665950"/>
                      <a:pt x="218197" y="665605"/>
                      <a:pt x="216821" y="664917"/>
                    </a:cubicBezTo>
                    <a:cubicBezTo>
                      <a:pt x="216132" y="664573"/>
                      <a:pt x="215444" y="664229"/>
                      <a:pt x="214756" y="663885"/>
                    </a:cubicBezTo>
                    <a:cubicBezTo>
                      <a:pt x="213379" y="663196"/>
                      <a:pt x="212003" y="662852"/>
                      <a:pt x="210626" y="662164"/>
                    </a:cubicBezTo>
                    <a:cubicBezTo>
                      <a:pt x="193418" y="654937"/>
                      <a:pt x="177242" y="646333"/>
                      <a:pt x="161411" y="636696"/>
                    </a:cubicBezTo>
                    <a:cubicBezTo>
                      <a:pt x="160723" y="636352"/>
                      <a:pt x="160034" y="635664"/>
                      <a:pt x="159346" y="635319"/>
                    </a:cubicBezTo>
                    <a:cubicBezTo>
                      <a:pt x="141106" y="622930"/>
                      <a:pt x="123553" y="609163"/>
                      <a:pt x="107378" y="593676"/>
                    </a:cubicBezTo>
                    <a:cubicBezTo>
                      <a:pt x="106345" y="592644"/>
                      <a:pt x="105313" y="591611"/>
                      <a:pt x="104280" y="590579"/>
                    </a:cubicBezTo>
                    <a:cubicBezTo>
                      <a:pt x="101527" y="587825"/>
                      <a:pt x="99118" y="585416"/>
                      <a:pt x="96365" y="582663"/>
                    </a:cubicBezTo>
                    <a:cubicBezTo>
                      <a:pt x="89826" y="576124"/>
                      <a:pt x="83631" y="569241"/>
                      <a:pt x="77780" y="562013"/>
                    </a:cubicBezTo>
                    <a:cubicBezTo>
                      <a:pt x="76748" y="560981"/>
                      <a:pt x="76059" y="559948"/>
                      <a:pt x="75027" y="558572"/>
                    </a:cubicBezTo>
                    <a:cubicBezTo>
                      <a:pt x="75027" y="558572"/>
                      <a:pt x="74683" y="558228"/>
                      <a:pt x="74683" y="558228"/>
                    </a:cubicBezTo>
                    <a:cubicBezTo>
                      <a:pt x="74339" y="557883"/>
                      <a:pt x="73994" y="557195"/>
                      <a:pt x="73650" y="556851"/>
                    </a:cubicBezTo>
                    <a:cubicBezTo>
                      <a:pt x="27533" y="498344"/>
                      <a:pt x="0" y="424693"/>
                      <a:pt x="0" y="344160"/>
                    </a:cubicBezTo>
                    <a:cubicBezTo>
                      <a:pt x="0" y="154184"/>
                      <a:pt x="154184" y="0"/>
                      <a:pt x="344160" y="0"/>
                    </a:cubicBezTo>
                    <a:cubicBezTo>
                      <a:pt x="534136" y="0"/>
                      <a:pt x="688320" y="154184"/>
                      <a:pt x="688320" y="3441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4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81" name="Grafik 129">
                <a:extLst>
                  <a:ext uri="{FF2B5EF4-FFF2-40B4-BE49-F238E27FC236}">
                    <a16:creationId xmlns:a16="http://schemas.microsoft.com/office/drawing/2014/main" id="{59741B19-54F3-4B50-B1DC-F7990CFAE842}"/>
                  </a:ext>
                </a:extLst>
              </p:cNvPr>
              <p:cNvGrpSpPr/>
              <p:nvPr/>
            </p:nvGrpSpPr>
            <p:grpSpPr>
              <a:xfrm>
                <a:off x="4749095" y="4242557"/>
                <a:ext cx="533792" cy="580544"/>
                <a:chOff x="4749095" y="4242557"/>
                <a:chExt cx="533792" cy="580544"/>
              </a:xfrm>
            </p:grpSpPr>
            <p:sp>
              <p:nvSpPr>
                <p:cNvPr id="182" name="Freihandform: Form 181">
                  <a:extLst>
                    <a:ext uri="{FF2B5EF4-FFF2-40B4-BE49-F238E27FC236}">
                      <a16:creationId xmlns:a16="http://schemas.microsoft.com/office/drawing/2014/main" id="{5CD5C8FE-682C-49E0-950A-105B01ECDDB9}"/>
                    </a:ext>
                  </a:extLst>
                </p:cNvPr>
                <p:cNvSpPr/>
                <p:nvPr/>
              </p:nvSpPr>
              <p:spPr>
                <a:xfrm>
                  <a:off x="4927026" y="4647924"/>
                  <a:ext cx="164508" cy="175177"/>
                </a:xfrm>
                <a:custGeom>
                  <a:avLst/>
                  <a:gdLst>
                    <a:gd name="connsiteX0" fmla="*/ 164508 w 164508"/>
                    <a:gd name="connsiteY0" fmla="*/ 0 h 175177"/>
                    <a:gd name="connsiteX1" fmla="*/ 130092 w 164508"/>
                    <a:gd name="connsiteY1" fmla="*/ 172768 h 175177"/>
                    <a:gd name="connsiteX2" fmla="*/ 126307 w 164508"/>
                    <a:gd name="connsiteY2" fmla="*/ 173112 h 175177"/>
                    <a:gd name="connsiteX3" fmla="*/ 124242 w 164508"/>
                    <a:gd name="connsiteY3" fmla="*/ 173457 h 175177"/>
                    <a:gd name="connsiteX4" fmla="*/ 119424 w 164508"/>
                    <a:gd name="connsiteY4" fmla="*/ 173801 h 175177"/>
                    <a:gd name="connsiteX5" fmla="*/ 105313 w 164508"/>
                    <a:gd name="connsiteY5" fmla="*/ 174833 h 175177"/>
                    <a:gd name="connsiteX6" fmla="*/ 91547 w 164508"/>
                    <a:gd name="connsiteY6" fmla="*/ 175177 h 175177"/>
                    <a:gd name="connsiteX7" fmla="*/ 89826 w 164508"/>
                    <a:gd name="connsiteY7" fmla="*/ 175177 h 175177"/>
                    <a:gd name="connsiteX8" fmla="*/ 88449 w 164508"/>
                    <a:gd name="connsiteY8" fmla="*/ 175177 h 175177"/>
                    <a:gd name="connsiteX9" fmla="*/ 72274 w 164508"/>
                    <a:gd name="connsiteY9" fmla="*/ 174489 h 175177"/>
                    <a:gd name="connsiteX10" fmla="*/ 55754 w 164508"/>
                    <a:gd name="connsiteY10" fmla="*/ 173112 h 175177"/>
                    <a:gd name="connsiteX11" fmla="*/ 43708 w 164508"/>
                    <a:gd name="connsiteY11" fmla="*/ 171736 h 175177"/>
                    <a:gd name="connsiteX12" fmla="*/ 40955 w 164508"/>
                    <a:gd name="connsiteY12" fmla="*/ 171392 h 175177"/>
                    <a:gd name="connsiteX13" fmla="*/ 37858 w 164508"/>
                    <a:gd name="connsiteY13" fmla="*/ 171048 h 175177"/>
                    <a:gd name="connsiteX14" fmla="*/ 0 w 164508"/>
                    <a:gd name="connsiteY14" fmla="*/ 344 h 175177"/>
                    <a:gd name="connsiteX15" fmla="*/ 164508 w 164508"/>
                    <a:gd name="connsiteY15" fmla="*/ 344 h 1751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4508" h="175177">
                      <a:moveTo>
                        <a:pt x="164508" y="0"/>
                      </a:moveTo>
                      <a:cubicBezTo>
                        <a:pt x="159346" y="20650"/>
                        <a:pt x="145236" y="93612"/>
                        <a:pt x="130092" y="172768"/>
                      </a:cubicBezTo>
                      <a:cubicBezTo>
                        <a:pt x="128716" y="172768"/>
                        <a:pt x="127339" y="173112"/>
                        <a:pt x="126307" y="173112"/>
                      </a:cubicBezTo>
                      <a:cubicBezTo>
                        <a:pt x="125618" y="173112"/>
                        <a:pt x="124930" y="173112"/>
                        <a:pt x="124242" y="173457"/>
                      </a:cubicBezTo>
                      <a:cubicBezTo>
                        <a:pt x="122521" y="173801"/>
                        <a:pt x="120800" y="173801"/>
                        <a:pt x="119424" y="173801"/>
                      </a:cubicBezTo>
                      <a:cubicBezTo>
                        <a:pt x="114949" y="174145"/>
                        <a:pt x="110131" y="174489"/>
                        <a:pt x="105313" y="174833"/>
                      </a:cubicBezTo>
                      <a:cubicBezTo>
                        <a:pt x="100839" y="174833"/>
                        <a:pt x="96365" y="175177"/>
                        <a:pt x="91547" y="175177"/>
                      </a:cubicBezTo>
                      <a:cubicBezTo>
                        <a:pt x="90858" y="175177"/>
                        <a:pt x="90514" y="175177"/>
                        <a:pt x="89826" y="175177"/>
                      </a:cubicBezTo>
                      <a:cubicBezTo>
                        <a:pt x="89482" y="175177"/>
                        <a:pt x="88793" y="175177"/>
                        <a:pt x="88449" y="175177"/>
                      </a:cubicBezTo>
                      <a:cubicBezTo>
                        <a:pt x="82943" y="175177"/>
                        <a:pt x="77436" y="174833"/>
                        <a:pt x="72274" y="174489"/>
                      </a:cubicBezTo>
                      <a:cubicBezTo>
                        <a:pt x="66767" y="174145"/>
                        <a:pt x="61260" y="173801"/>
                        <a:pt x="55754" y="173112"/>
                      </a:cubicBezTo>
                      <a:cubicBezTo>
                        <a:pt x="51624" y="172768"/>
                        <a:pt x="47838" y="172080"/>
                        <a:pt x="43708" y="171736"/>
                      </a:cubicBezTo>
                      <a:cubicBezTo>
                        <a:pt x="42676" y="171736"/>
                        <a:pt x="41988" y="171392"/>
                        <a:pt x="40955" y="171392"/>
                      </a:cubicBezTo>
                      <a:cubicBezTo>
                        <a:pt x="39923" y="171392"/>
                        <a:pt x="38890" y="171048"/>
                        <a:pt x="37858" y="171048"/>
                      </a:cubicBezTo>
                      <a:cubicBezTo>
                        <a:pt x="20994" y="93612"/>
                        <a:pt x="5162" y="20994"/>
                        <a:pt x="0" y="344"/>
                      </a:cubicBezTo>
                      <a:lnTo>
                        <a:pt x="164508" y="344"/>
                      </a:lnTo>
                      <a:close/>
                    </a:path>
                  </a:pathLst>
                </a:custGeom>
                <a:solidFill>
                  <a:srgbClr val="DFE6ED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ihandform: Form 182">
                  <a:extLst>
                    <a:ext uri="{FF2B5EF4-FFF2-40B4-BE49-F238E27FC236}">
                      <a16:creationId xmlns:a16="http://schemas.microsoft.com/office/drawing/2014/main" id="{30B2A4C1-C059-49E8-97E3-0FB781A283CA}"/>
                    </a:ext>
                  </a:extLst>
                </p:cNvPr>
                <p:cNvSpPr/>
                <p:nvPr/>
              </p:nvSpPr>
              <p:spPr>
                <a:xfrm>
                  <a:off x="4982436" y="4678554"/>
                  <a:ext cx="63669" cy="144547"/>
                </a:xfrm>
                <a:custGeom>
                  <a:avLst/>
                  <a:gdLst>
                    <a:gd name="connsiteX0" fmla="*/ 63670 w 63669"/>
                    <a:gd name="connsiteY0" fmla="*/ 143171 h 144547"/>
                    <a:gd name="connsiteX1" fmla="*/ 49559 w 63669"/>
                    <a:gd name="connsiteY1" fmla="*/ 144203 h 144547"/>
                    <a:gd name="connsiteX2" fmla="*/ 35793 w 63669"/>
                    <a:gd name="connsiteY2" fmla="*/ 144547 h 144547"/>
                    <a:gd name="connsiteX3" fmla="*/ 34072 w 63669"/>
                    <a:gd name="connsiteY3" fmla="*/ 144547 h 144547"/>
                    <a:gd name="connsiteX4" fmla="*/ 32695 w 63669"/>
                    <a:gd name="connsiteY4" fmla="*/ 144547 h 144547"/>
                    <a:gd name="connsiteX5" fmla="*/ 16520 w 63669"/>
                    <a:gd name="connsiteY5" fmla="*/ 143859 h 144547"/>
                    <a:gd name="connsiteX6" fmla="*/ 0 w 63669"/>
                    <a:gd name="connsiteY6" fmla="*/ 142482 h 144547"/>
                    <a:gd name="connsiteX7" fmla="*/ 15487 w 63669"/>
                    <a:gd name="connsiteY7" fmla="*/ 7572 h 144547"/>
                    <a:gd name="connsiteX8" fmla="*/ 16520 w 63669"/>
                    <a:gd name="connsiteY8" fmla="*/ 0 h 144547"/>
                    <a:gd name="connsiteX9" fmla="*/ 31663 w 63669"/>
                    <a:gd name="connsiteY9" fmla="*/ 5162 h 144547"/>
                    <a:gd name="connsiteX10" fmla="*/ 46806 w 63669"/>
                    <a:gd name="connsiteY10" fmla="*/ 0 h 144547"/>
                    <a:gd name="connsiteX11" fmla="*/ 47838 w 63669"/>
                    <a:gd name="connsiteY11" fmla="*/ 8948 h 144547"/>
                    <a:gd name="connsiteX12" fmla="*/ 63670 w 63669"/>
                    <a:gd name="connsiteY12" fmla="*/ 143171 h 1445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3669" h="144547">
                      <a:moveTo>
                        <a:pt x="63670" y="143171"/>
                      </a:moveTo>
                      <a:cubicBezTo>
                        <a:pt x="59196" y="143515"/>
                        <a:pt x="54377" y="143859"/>
                        <a:pt x="49559" y="144203"/>
                      </a:cubicBezTo>
                      <a:cubicBezTo>
                        <a:pt x="45085" y="144203"/>
                        <a:pt x="40611" y="144547"/>
                        <a:pt x="35793" y="144547"/>
                      </a:cubicBezTo>
                      <a:cubicBezTo>
                        <a:pt x="35104" y="144547"/>
                        <a:pt x="34760" y="144547"/>
                        <a:pt x="34072" y="144547"/>
                      </a:cubicBezTo>
                      <a:cubicBezTo>
                        <a:pt x="33728" y="144547"/>
                        <a:pt x="33039" y="144547"/>
                        <a:pt x="32695" y="144547"/>
                      </a:cubicBezTo>
                      <a:cubicBezTo>
                        <a:pt x="27189" y="144547"/>
                        <a:pt x="21682" y="144203"/>
                        <a:pt x="16520" y="143859"/>
                      </a:cubicBezTo>
                      <a:cubicBezTo>
                        <a:pt x="11013" y="143515"/>
                        <a:pt x="5507" y="143171"/>
                        <a:pt x="0" y="142482"/>
                      </a:cubicBezTo>
                      <a:lnTo>
                        <a:pt x="15487" y="7572"/>
                      </a:lnTo>
                      <a:lnTo>
                        <a:pt x="16520" y="0"/>
                      </a:lnTo>
                      <a:lnTo>
                        <a:pt x="31663" y="5162"/>
                      </a:lnTo>
                      <a:lnTo>
                        <a:pt x="46806" y="0"/>
                      </a:lnTo>
                      <a:lnTo>
                        <a:pt x="47838" y="8948"/>
                      </a:lnTo>
                      <a:lnTo>
                        <a:pt x="63670" y="14317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184" name="Grafik 129">
                  <a:extLst>
                    <a:ext uri="{FF2B5EF4-FFF2-40B4-BE49-F238E27FC236}">
                      <a16:creationId xmlns:a16="http://schemas.microsoft.com/office/drawing/2014/main" id="{59741B19-54F3-4B50-B1DC-F7990CFAE842}"/>
                    </a:ext>
                  </a:extLst>
                </p:cNvPr>
                <p:cNvGrpSpPr/>
                <p:nvPr/>
              </p:nvGrpSpPr>
              <p:grpSpPr>
                <a:xfrm>
                  <a:off x="4867372" y="4242557"/>
                  <a:ext cx="285973" cy="411905"/>
                  <a:chOff x="4867372" y="4242557"/>
                  <a:chExt cx="285973" cy="411905"/>
                </a:xfrm>
              </p:grpSpPr>
              <p:sp>
                <p:nvSpPr>
                  <p:cNvPr id="185" name="Freihandform: Form 184">
                    <a:extLst>
                      <a:ext uri="{FF2B5EF4-FFF2-40B4-BE49-F238E27FC236}">
                        <a16:creationId xmlns:a16="http://schemas.microsoft.com/office/drawing/2014/main" id="{2A799EC0-CA76-4D5C-8F52-670CDC0E49F0}"/>
                      </a:ext>
                    </a:extLst>
                  </p:cNvPr>
                  <p:cNvSpPr/>
                  <p:nvPr/>
                </p:nvSpPr>
                <p:spPr>
                  <a:xfrm>
                    <a:off x="4941137" y="4502345"/>
                    <a:ext cx="139043" cy="152118"/>
                  </a:xfrm>
                  <a:custGeom>
                    <a:avLst/>
                    <a:gdLst>
                      <a:gd name="connsiteX0" fmla="*/ 74339 w 139043"/>
                      <a:gd name="connsiteY0" fmla="*/ 152119 h 152118"/>
                      <a:gd name="connsiteX1" fmla="*/ 63670 w 139043"/>
                      <a:gd name="connsiteY1" fmla="*/ 152119 h 152118"/>
                      <a:gd name="connsiteX2" fmla="*/ 0 w 139043"/>
                      <a:gd name="connsiteY2" fmla="*/ 93267 h 152118"/>
                      <a:gd name="connsiteX3" fmla="*/ 3442 w 139043"/>
                      <a:gd name="connsiteY3" fmla="*/ 344 h 152118"/>
                      <a:gd name="connsiteX4" fmla="*/ 138352 w 139043"/>
                      <a:gd name="connsiteY4" fmla="*/ 0 h 152118"/>
                      <a:gd name="connsiteX5" fmla="*/ 139041 w 139043"/>
                      <a:gd name="connsiteY5" fmla="*/ 88793 h 152118"/>
                      <a:gd name="connsiteX6" fmla="*/ 74339 w 139043"/>
                      <a:gd name="connsiteY6" fmla="*/ 152119 h 152118"/>
                      <a:gd name="connsiteX7" fmla="*/ 74339 w 139043"/>
                      <a:gd name="connsiteY7" fmla="*/ 152119 h 1521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9043" h="152118">
                        <a:moveTo>
                          <a:pt x="74339" y="152119"/>
                        </a:moveTo>
                        <a:lnTo>
                          <a:pt x="63670" y="152119"/>
                        </a:lnTo>
                        <a:cubicBezTo>
                          <a:pt x="30974" y="152119"/>
                          <a:pt x="0" y="125963"/>
                          <a:pt x="0" y="93267"/>
                        </a:cubicBezTo>
                        <a:lnTo>
                          <a:pt x="3442" y="344"/>
                        </a:lnTo>
                        <a:lnTo>
                          <a:pt x="138352" y="0"/>
                        </a:lnTo>
                        <a:lnTo>
                          <a:pt x="139041" y="88793"/>
                        </a:lnTo>
                        <a:cubicBezTo>
                          <a:pt x="139385" y="121833"/>
                          <a:pt x="107034" y="152119"/>
                          <a:pt x="74339" y="152119"/>
                        </a:cubicBezTo>
                        <a:lnTo>
                          <a:pt x="74339" y="152119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6" name="Freihandform: Form 185">
                    <a:extLst>
                      <a:ext uri="{FF2B5EF4-FFF2-40B4-BE49-F238E27FC236}">
                        <a16:creationId xmlns:a16="http://schemas.microsoft.com/office/drawing/2014/main" id="{7831E197-0E8F-4287-A0C8-56AE3CDCEEE9}"/>
                      </a:ext>
                    </a:extLst>
                  </p:cNvPr>
                  <p:cNvSpPr/>
                  <p:nvPr/>
                </p:nvSpPr>
                <p:spPr>
                  <a:xfrm>
                    <a:off x="4867372" y="4242557"/>
                    <a:ext cx="285973" cy="297756"/>
                  </a:xfrm>
                  <a:custGeom>
                    <a:avLst/>
                    <a:gdLst>
                      <a:gd name="connsiteX0" fmla="*/ 285423 w 285973"/>
                      <a:gd name="connsiteY0" fmla="*/ 156883 h 297756"/>
                      <a:gd name="connsiteX1" fmla="*/ 180455 w 285973"/>
                      <a:gd name="connsiteY1" fmla="*/ 292826 h 297756"/>
                      <a:gd name="connsiteX2" fmla="*/ 28336 w 285973"/>
                      <a:gd name="connsiteY2" fmla="*/ 238449 h 297756"/>
                      <a:gd name="connsiteX3" fmla="*/ 3212 w 285973"/>
                      <a:gd name="connsiteY3" fmla="*/ 166176 h 297756"/>
                      <a:gd name="connsiteX4" fmla="*/ 15602 w 285973"/>
                      <a:gd name="connsiteY4" fmla="*/ 59486 h 297756"/>
                      <a:gd name="connsiteX5" fmla="*/ 74797 w 285973"/>
                      <a:gd name="connsiteY5" fmla="*/ 6141 h 297756"/>
                      <a:gd name="connsiteX6" fmla="*/ 116097 w 285973"/>
                      <a:gd name="connsiteY6" fmla="*/ 1667 h 297756"/>
                      <a:gd name="connsiteX7" fmla="*/ 167721 w 285973"/>
                      <a:gd name="connsiteY7" fmla="*/ 979 h 297756"/>
                      <a:gd name="connsiteX8" fmla="*/ 257891 w 285973"/>
                      <a:gd name="connsiteY8" fmla="*/ 44687 h 297756"/>
                      <a:gd name="connsiteX9" fmla="*/ 281638 w 285973"/>
                      <a:gd name="connsiteY9" fmla="*/ 93214 h 297756"/>
                      <a:gd name="connsiteX10" fmla="*/ 285423 w 285973"/>
                      <a:gd name="connsiteY10" fmla="*/ 156883 h 297756"/>
                      <a:gd name="connsiteX11" fmla="*/ 285423 w 285973"/>
                      <a:gd name="connsiteY11" fmla="*/ 156883 h 2977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85973" h="297756">
                        <a:moveTo>
                          <a:pt x="285423" y="156883"/>
                        </a:moveTo>
                        <a:cubicBezTo>
                          <a:pt x="281982" y="218144"/>
                          <a:pt x="241027" y="275618"/>
                          <a:pt x="180455" y="292826"/>
                        </a:cubicBezTo>
                        <a:cubicBezTo>
                          <a:pt x="124356" y="308658"/>
                          <a:pt x="63784" y="285255"/>
                          <a:pt x="28336" y="238449"/>
                        </a:cubicBezTo>
                        <a:cubicBezTo>
                          <a:pt x="13193" y="218144"/>
                          <a:pt x="7342" y="191643"/>
                          <a:pt x="3212" y="166176"/>
                        </a:cubicBezTo>
                        <a:cubicBezTo>
                          <a:pt x="-2983" y="128318"/>
                          <a:pt x="-918" y="90460"/>
                          <a:pt x="15602" y="59486"/>
                        </a:cubicBezTo>
                        <a:cubicBezTo>
                          <a:pt x="28336" y="35739"/>
                          <a:pt x="48297" y="14057"/>
                          <a:pt x="74797" y="6141"/>
                        </a:cubicBezTo>
                        <a:cubicBezTo>
                          <a:pt x="88220" y="2355"/>
                          <a:pt x="102330" y="2011"/>
                          <a:pt x="116097" y="1667"/>
                        </a:cubicBezTo>
                        <a:cubicBezTo>
                          <a:pt x="132960" y="1323"/>
                          <a:pt x="150857" y="-1430"/>
                          <a:pt x="167721" y="979"/>
                        </a:cubicBezTo>
                        <a:cubicBezTo>
                          <a:pt x="199383" y="5109"/>
                          <a:pt x="237241" y="20596"/>
                          <a:pt x="257891" y="44687"/>
                        </a:cubicBezTo>
                        <a:cubicBezTo>
                          <a:pt x="268904" y="57765"/>
                          <a:pt x="277508" y="77038"/>
                          <a:pt x="281638" y="93214"/>
                        </a:cubicBezTo>
                        <a:cubicBezTo>
                          <a:pt x="286456" y="111110"/>
                          <a:pt x="286456" y="138299"/>
                          <a:pt x="285423" y="156883"/>
                        </a:cubicBezTo>
                        <a:lnTo>
                          <a:pt x="285423" y="156883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7" name="Freihandform: Form 186">
                    <a:extLst>
                      <a:ext uri="{FF2B5EF4-FFF2-40B4-BE49-F238E27FC236}">
                        <a16:creationId xmlns:a16="http://schemas.microsoft.com/office/drawing/2014/main" id="{9CD15F8F-FE6D-4FAC-827E-7193D37F42EA}"/>
                      </a:ext>
                    </a:extLst>
                  </p:cNvPr>
                  <p:cNvSpPr/>
                  <p:nvPr/>
                </p:nvSpPr>
                <p:spPr>
                  <a:xfrm>
                    <a:off x="4944922" y="4465175"/>
                    <a:ext cx="135278" cy="138679"/>
                  </a:xfrm>
                  <a:custGeom>
                    <a:avLst/>
                    <a:gdLst>
                      <a:gd name="connsiteX0" fmla="*/ 0 w 135278"/>
                      <a:gd name="connsiteY0" fmla="*/ 52312 h 138679"/>
                      <a:gd name="connsiteX1" fmla="*/ 344 w 135278"/>
                      <a:gd name="connsiteY1" fmla="*/ 2409 h 138679"/>
                      <a:gd name="connsiteX2" fmla="*/ 134222 w 135278"/>
                      <a:gd name="connsiteY2" fmla="*/ 0 h 138679"/>
                      <a:gd name="connsiteX3" fmla="*/ 135255 w 135278"/>
                      <a:gd name="connsiteY3" fmla="*/ 134911 h 138679"/>
                      <a:gd name="connsiteX4" fmla="*/ 0 w 135278"/>
                      <a:gd name="connsiteY4" fmla="*/ 52312 h 138679"/>
                      <a:gd name="connsiteX5" fmla="*/ 0 w 135278"/>
                      <a:gd name="connsiteY5" fmla="*/ 52312 h 1386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35278" h="138679">
                        <a:moveTo>
                          <a:pt x="0" y="52312"/>
                        </a:moveTo>
                        <a:lnTo>
                          <a:pt x="344" y="2409"/>
                        </a:lnTo>
                        <a:lnTo>
                          <a:pt x="134222" y="0"/>
                        </a:lnTo>
                        <a:lnTo>
                          <a:pt x="135255" y="134911"/>
                        </a:lnTo>
                        <a:cubicBezTo>
                          <a:pt x="137320" y="152807"/>
                          <a:pt x="3097" y="103936"/>
                          <a:pt x="0" y="52312"/>
                        </a:cubicBezTo>
                        <a:lnTo>
                          <a:pt x="0" y="5231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8" name="Freihandform: Form 187">
                    <a:extLst>
                      <a:ext uri="{FF2B5EF4-FFF2-40B4-BE49-F238E27FC236}">
                        <a16:creationId xmlns:a16="http://schemas.microsoft.com/office/drawing/2014/main" id="{B3DC3FFF-CBDD-4B4A-AD50-92D09138575A}"/>
                      </a:ext>
                    </a:extLst>
                  </p:cNvPr>
                  <p:cNvSpPr/>
                  <p:nvPr/>
                </p:nvSpPr>
                <p:spPr>
                  <a:xfrm>
                    <a:off x="4912519" y="4291010"/>
                    <a:ext cx="199163" cy="270779"/>
                  </a:xfrm>
                  <a:custGeom>
                    <a:avLst/>
                    <a:gdLst>
                      <a:gd name="connsiteX0" fmla="*/ 28962 w 199163"/>
                      <a:gd name="connsiteY0" fmla="*/ 230952 h 270779"/>
                      <a:gd name="connsiteX1" fmla="*/ 106398 w 199163"/>
                      <a:gd name="connsiteY1" fmla="*/ 270530 h 270779"/>
                      <a:gd name="connsiteX2" fmla="*/ 167314 w 199163"/>
                      <a:gd name="connsiteY2" fmla="*/ 230608 h 270779"/>
                      <a:gd name="connsiteX3" fmla="*/ 195191 w 199163"/>
                      <a:gd name="connsiteY3" fmla="*/ 75391 h 270779"/>
                      <a:gd name="connsiteX4" fmla="*/ 10722 w 199163"/>
                      <a:gd name="connsiteY4" fmla="*/ 54742 h 270779"/>
                      <a:gd name="connsiteX5" fmla="*/ 28962 w 199163"/>
                      <a:gd name="connsiteY5" fmla="*/ 230952 h 270779"/>
                      <a:gd name="connsiteX6" fmla="*/ 28962 w 199163"/>
                      <a:gd name="connsiteY6" fmla="*/ 230952 h 270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99163" h="270779">
                        <a:moveTo>
                          <a:pt x="28962" y="230952"/>
                        </a:moveTo>
                        <a:cubicBezTo>
                          <a:pt x="53742" y="265712"/>
                          <a:pt x="85060" y="272251"/>
                          <a:pt x="106398" y="270530"/>
                        </a:cubicBezTo>
                        <a:cubicBezTo>
                          <a:pt x="129457" y="268465"/>
                          <a:pt x="151139" y="256420"/>
                          <a:pt x="167314" y="230608"/>
                        </a:cubicBezTo>
                        <a:cubicBezTo>
                          <a:pt x="195536" y="184834"/>
                          <a:pt x="205516" y="118067"/>
                          <a:pt x="195191" y="75391"/>
                        </a:cubicBezTo>
                        <a:cubicBezTo>
                          <a:pt x="174886" y="-8584"/>
                          <a:pt x="50300" y="-31987"/>
                          <a:pt x="10722" y="54742"/>
                        </a:cubicBezTo>
                        <a:cubicBezTo>
                          <a:pt x="-9240" y="97762"/>
                          <a:pt x="-292" y="193094"/>
                          <a:pt x="28962" y="230952"/>
                        </a:cubicBezTo>
                        <a:lnTo>
                          <a:pt x="28962" y="23095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9" name="Freihandform: Form 188">
                    <a:extLst>
                      <a:ext uri="{FF2B5EF4-FFF2-40B4-BE49-F238E27FC236}">
                        <a16:creationId xmlns:a16="http://schemas.microsoft.com/office/drawing/2014/main" id="{99BE4743-2268-4A71-A285-4654A715F830}"/>
                      </a:ext>
                    </a:extLst>
                  </p:cNvPr>
                  <p:cNvSpPr/>
                  <p:nvPr/>
                </p:nvSpPr>
                <p:spPr>
                  <a:xfrm>
                    <a:off x="4895363" y="4435914"/>
                    <a:ext cx="40266" cy="47845"/>
                  </a:xfrm>
                  <a:custGeom>
                    <a:avLst/>
                    <a:gdLst>
                      <a:gd name="connsiteX0" fmla="*/ 0 w 40266"/>
                      <a:gd name="connsiteY0" fmla="*/ 23411 h 47845"/>
                      <a:gd name="connsiteX1" fmla="*/ 23059 w 40266"/>
                      <a:gd name="connsiteY1" fmla="*/ 47846 h 47845"/>
                      <a:gd name="connsiteX2" fmla="*/ 40267 w 40266"/>
                      <a:gd name="connsiteY2" fmla="*/ 25820 h 47845"/>
                      <a:gd name="connsiteX3" fmla="*/ 20994 w 40266"/>
                      <a:gd name="connsiteY3" fmla="*/ 8 h 47845"/>
                      <a:gd name="connsiteX4" fmla="*/ 0 w 40266"/>
                      <a:gd name="connsiteY4" fmla="*/ 23411 h 47845"/>
                      <a:gd name="connsiteX5" fmla="*/ 0 w 40266"/>
                      <a:gd name="connsiteY5" fmla="*/ 23411 h 478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0266" h="47845">
                        <a:moveTo>
                          <a:pt x="0" y="23411"/>
                        </a:moveTo>
                        <a:cubicBezTo>
                          <a:pt x="0" y="35456"/>
                          <a:pt x="13422" y="47846"/>
                          <a:pt x="23059" y="47846"/>
                        </a:cubicBezTo>
                        <a:cubicBezTo>
                          <a:pt x="32695" y="47846"/>
                          <a:pt x="40267" y="37865"/>
                          <a:pt x="40267" y="25820"/>
                        </a:cubicBezTo>
                        <a:cubicBezTo>
                          <a:pt x="40267" y="13774"/>
                          <a:pt x="30286" y="352"/>
                          <a:pt x="20994" y="8"/>
                        </a:cubicBezTo>
                        <a:cubicBezTo>
                          <a:pt x="7227" y="-337"/>
                          <a:pt x="0" y="11021"/>
                          <a:pt x="0" y="23411"/>
                        </a:cubicBezTo>
                        <a:lnTo>
                          <a:pt x="0" y="23411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0" name="Freihandform: Form 189">
                    <a:extLst>
                      <a:ext uri="{FF2B5EF4-FFF2-40B4-BE49-F238E27FC236}">
                        <a16:creationId xmlns:a16="http://schemas.microsoft.com/office/drawing/2014/main" id="{F269C68F-D1C1-4610-99C9-1202A7AA78FE}"/>
                      </a:ext>
                    </a:extLst>
                  </p:cNvPr>
                  <p:cNvSpPr/>
                  <p:nvPr/>
                </p:nvSpPr>
                <p:spPr>
                  <a:xfrm>
                    <a:off x="4993793" y="4510949"/>
                    <a:ext cx="44155" cy="11701"/>
                  </a:xfrm>
                  <a:custGeom>
                    <a:avLst/>
                    <a:gdLst>
                      <a:gd name="connsiteX0" fmla="*/ 20994 w 44155"/>
                      <a:gd name="connsiteY0" fmla="*/ 11701 h 11701"/>
                      <a:gd name="connsiteX1" fmla="*/ 0 w 44155"/>
                      <a:gd name="connsiteY1" fmla="*/ 4474 h 11701"/>
                      <a:gd name="connsiteX2" fmla="*/ 1721 w 44155"/>
                      <a:gd name="connsiteY2" fmla="*/ 2753 h 11701"/>
                      <a:gd name="connsiteX3" fmla="*/ 39578 w 44155"/>
                      <a:gd name="connsiteY3" fmla="*/ 4818 h 11701"/>
                      <a:gd name="connsiteX4" fmla="*/ 41643 w 44155"/>
                      <a:gd name="connsiteY4" fmla="*/ 1032 h 11701"/>
                      <a:gd name="connsiteX5" fmla="*/ 43708 w 44155"/>
                      <a:gd name="connsiteY5" fmla="*/ 0 h 11701"/>
                      <a:gd name="connsiteX6" fmla="*/ 40955 w 44155"/>
                      <a:gd name="connsiteY6" fmla="*/ 6883 h 11701"/>
                      <a:gd name="connsiteX7" fmla="*/ 20994 w 44155"/>
                      <a:gd name="connsiteY7" fmla="*/ 11701 h 11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4155" h="11701">
                        <a:moveTo>
                          <a:pt x="20994" y="11701"/>
                        </a:moveTo>
                        <a:cubicBezTo>
                          <a:pt x="13078" y="11701"/>
                          <a:pt x="5162" y="9636"/>
                          <a:pt x="0" y="4474"/>
                        </a:cubicBezTo>
                        <a:lnTo>
                          <a:pt x="1721" y="2753"/>
                        </a:lnTo>
                        <a:cubicBezTo>
                          <a:pt x="11357" y="12390"/>
                          <a:pt x="32695" y="9636"/>
                          <a:pt x="39578" y="4818"/>
                        </a:cubicBezTo>
                        <a:cubicBezTo>
                          <a:pt x="41643" y="3442"/>
                          <a:pt x="41988" y="2065"/>
                          <a:pt x="41643" y="1032"/>
                        </a:cubicBezTo>
                        <a:lnTo>
                          <a:pt x="43708" y="0"/>
                        </a:lnTo>
                        <a:cubicBezTo>
                          <a:pt x="44741" y="2409"/>
                          <a:pt x="44052" y="4818"/>
                          <a:pt x="40955" y="6883"/>
                        </a:cubicBezTo>
                        <a:cubicBezTo>
                          <a:pt x="37169" y="9636"/>
                          <a:pt x="29254" y="11701"/>
                          <a:pt x="20994" y="11701"/>
                        </a:cubicBezTo>
                        <a:close/>
                      </a:path>
                    </a:pathLst>
                  </a:custGeom>
                  <a:solidFill>
                    <a:srgbClr val="4B3C32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1" name="Freihandform: Form 190">
                    <a:extLst>
                      <a:ext uri="{FF2B5EF4-FFF2-40B4-BE49-F238E27FC236}">
                        <a16:creationId xmlns:a16="http://schemas.microsoft.com/office/drawing/2014/main" id="{55E34129-3492-47F7-9AFD-A6036ED16787}"/>
                      </a:ext>
                    </a:extLst>
                  </p:cNvPr>
                  <p:cNvSpPr/>
                  <p:nvPr/>
                </p:nvSpPr>
                <p:spPr>
                  <a:xfrm>
                    <a:off x="5046449" y="4410110"/>
                    <a:ext cx="15831" cy="15831"/>
                  </a:xfrm>
                  <a:custGeom>
                    <a:avLst/>
                    <a:gdLst>
                      <a:gd name="connsiteX0" fmla="*/ 15831 w 15831"/>
                      <a:gd name="connsiteY0" fmla="*/ 7916 h 15831"/>
                      <a:gd name="connsiteX1" fmla="*/ 7916 w 15831"/>
                      <a:gd name="connsiteY1" fmla="*/ 0 h 15831"/>
                      <a:gd name="connsiteX2" fmla="*/ 0 w 15831"/>
                      <a:gd name="connsiteY2" fmla="*/ 7916 h 15831"/>
                      <a:gd name="connsiteX3" fmla="*/ 7916 w 15831"/>
                      <a:gd name="connsiteY3" fmla="*/ 15831 h 15831"/>
                      <a:gd name="connsiteX4" fmla="*/ 15831 w 15831"/>
                      <a:gd name="connsiteY4" fmla="*/ 7916 h 15831"/>
                      <a:gd name="connsiteX5" fmla="*/ 15831 w 15831"/>
                      <a:gd name="connsiteY5" fmla="*/ 7916 h 15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31" h="15831">
                        <a:moveTo>
                          <a:pt x="15831" y="7916"/>
                        </a:moveTo>
                        <a:cubicBezTo>
                          <a:pt x="15831" y="3442"/>
                          <a:pt x="12390" y="0"/>
                          <a:pt x="7916" y="0"/>
                        </a:cubicBezTo>
                        <a:cubicBezTo>
                          <a:pt x="3442" y="0"/>
                          <a:pt x="0" y="3442"/>
                          <a:pt x="0" y="7916"/>
                        </a:cubicBezTo>
                        <a:cubicBezTo>
                          <a:pt x="0" y="12390"/>
                          <a:pt x="3442" y="15831"/>
                          <a:pt x="7916" y="15831"/>
                        </a:cubicBezTo>
                        <a:cubicBezTo>
                          <a:pt x="12390" y="15831"/>
                          <a:pt x="15831" y="12390"/>
                          <a:pt x="15831" y="7916"/>
                        </a:cubicBezTo>
                        <a:lnTo>
                          <a:pt x="15831" y="7916"/>
                        </a:lnTo>
                        <a:close/>
                      </a:path>
                    </a:pathLst>
                  </a:custGeom>
                  <a:solidFill>
                    <a:srgbClr val="2C373C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2" name="Freihandform: Form 191">
                    <a:extLst>
                      <a:ext uri="{FF2B5EF4-FFF2-40B4-BE49-F238E27FC236}">
                        <a16:creationId xmlns:a16="http://schemas.microsoft.com/office/drawing/2014/main" id="{8028F0A5-D040-49B8-8032-AC0F02EF283E}"/>
                      </a:ext>
                    </a:extLst>
                  </p:cNvPr>
                  <p:cNvSpPr/>
                  <p:nvPr/>
                </p:nvSpPr>
                <p:spPr>
                  <a:xfrm>
                    <a:off x="5035715" y="4389552"/>
                    <a:ext cx="47945" cy="19573"/>
                  </a:xfrm>
                  <a:custGeom>
                    <a:avLst/>
                    <a:gdLst>
                      <a:gd name="connsiteX0" fmla="*/ 47904 w 47945"/>
                      <a:gd name="connsiteY0" fmla="*/ 10922 h 19573"/>
                      <a:gd name="connsiteX1" fmla="*/ 27943 w 47945"/>
                      <a:gd name="connsiteY1" fmla="*/ 597 h 19573"/>
                      <a:gd name="connsiteX2" fmla="*/ 66 w 47945"/>
                      <a:gd name="connsiteY2" fmla="*/ 12986 h 19573"/>
                      <a:gd name="connsiteX3" fmla="*/ 9702 w 47945"/>
                      <a:gd name="connsiteY3" fmla="*/ 18149 h 19573"/>
                      <a:gd name="connsiteX4" fmla="*/ 28287 w 47945"/>
                      <a:gd name="connsiteY4" fmla="*/ 15396 h 19573"/>
                      <a:gd name="connsiteX5" fmla="*/ 47904 w 47945"/>
                      <a:gd name="connsiteY5" fmla="*/ 10922 h 19573"/>
                      <a:gd name="connsiteX6" fmla="*/ 47904 w 47945"/>
                      <a:gd name="connsiteY6" fmla="*/ 10922 h 195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7945" h="19573">
                        <a:moveTo>
                          <a:pt x="47904" y="10922"/>
                        </a:moveTo>
                        <a:cubicBezTo>
                          <a:pt x="48248" y="9201"/>
                          <a:pt x="46872" y="3350"/>
                          <a:pt x="27943" y="597"/>
                        </a:cubicBezTo>
                        <a:cubicBezTo>
                          <a:pt x="9358" y="-2157"/>
                          <a:pt x="754" y="5071"/>
                          <a:pt x="66" y="12986"/>
                        </a:cubicBezTo>
                        <a:cubicBezTo>
                          <a:pt x="-623" y="20558"/>
                          <a:pt x="4196" y="20558"/>
                          <a:pt x="9702" y="18149"/>
                        </a:cubicBezTo>
                        <a:cubicBezTo>
                          <a:pt x="14865" y="15740"/>
                          <a:pt x="24157" y="15740"/>
                          <a:pt x="28287" y="15396"/>
                        </a:cubicBezTo>
                        <a:cubicBezTo>
                          <a:pt x="44118" y="13331"/>
                          <a:pt x="46872" y="19181"/>
                          <a:pt x="47904" y="10922"/>
                        </a:cubicBezTo>
                        <a:lnTo>
                          <a:pt x="47904" y="1092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3" name="Freihandform: Form 192">
                    <a:extLst>
                      <a:ext uri="{FF2B5EF4-FFF2-40B4-BE49-F238E27FC236}">
                        <a16:creationId xmlns:a16="http://schemas.microsoft.com/office/drawing/2014/main" id="{82B71A2B-4356-4FE8-AF00-35BCE49E239A}"/>
                      </a:ext>
                    </a:extLst>
                  </p:cNvPr>
                  <p:cNvSpPr/>
                  <p:nvPr/>
                </p:nvSpPr>
                <p:spPr>
                  <a:xfrm>
                    <a:off x="4964195" y="4410454"/>
                    <a:ext cx="15831" cy="15831"/>
                  </a:xfrm>
                  <a:custGeom>
                    <a:avLst/>
                    <a:gdLst>
                      <a:gd name="connsiteX0" fmla="*/ 15831 w 15831"/>
                      <a:gd name="connsiteY0" fmla="*/ 7916 h 15831"/>
                      <a:gd name="connsiteX1" fmla="*/ 7916 w 15831"/>
                      <a:gd name="connsiteY1" fmla="*/ 0 h 15831"/>
                      <a:gd name="connsiteX2" fmla="*/ 0 w 15831"/>
                      <a:gd name="connsiteY2" fmla="*/ 7916 h 15831"/>
                      <a:gd name="connsiteX3" fmla="*/ 7916 w 15831"/>
                      <a:gd name="connsiteY3" fmla="*/ 15831 h 15831"/>
                      <a:gd name="connsiteX4" fmla="*/ 15831 w 15831"/>
                      <a:gd name="connsiteY4" fmla="*/ 7916 h 15831"/>
                      <a:gd name="connsiteX5" fmla="*/ 15831 w 15831"/>
                      <a:gd name="connsiteY5" fmla="*/ 7916 h 15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5831" h="15831">
                        <a:moveTo>
                          <a:pt x="15831" y="7916"/>
                        </a:moveTo>
                        <a:cubicBezTo>
                          <a:pt x="15831" y="3442"/>
                          <a:pt x="12390" y="0"/>
                          <a:pt x="7916" y="0"/>
                        </a:cubicBezTo>
                        <a:cubicBezTo>
                          <a:pt x="3442" y="0"/>
                          <a:pt x="0" y="3442"/>
                          <a:pt x="0" y="7916"/>
                        </a:cubicBezTo>
                        <a:cubicBezTo>
                          <a:pt x="0" y="12390"/>
                          <a:pt x="3442" y="15831"/>
                          <a:pt x="7916" y="15831"/>
                        </a:cubicBezTo>
                        <a:cubicBezTo>
                          <a:pt x="12390" y="15831"/>
                          <a:pt x="15831" y="12390"/>
                          <a:pt x="15831" y="7916"/>
                        </a:cubicBezTo>
                        <a:lnTo>
                          <a:pt x="15831" y="7916"/>
                        </a:lnTo>
                        <a:close/>
                      </a:path>
                    </a:pathLst>
                  </a:custGeom>
                  <a:solidFill>
                    <a:srgbClr val="2C373C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4" name="Freihandform: Form 193">
                    <a:extLst>
                      <a:ext uri="{FF2B5EF4-FFF2-40B4-BE49-F238E27FC236}">
                        <a16:creationId xmlns:a16="http://schemas.microsoft.com/office/drawing/2014/main" id="{15F26511-9C9D-467C-A416-72544DB89EB4}"/>
                      </a:ext>
                    </a:extLst>
                  </p:cNvPr>
                  <p:cNvSpPr/>
                  <p:nvPr/>
                </p:nvSpPr>
                <p:spPr>
                  <a:xfrm>
                    <a:off x="4944922" y="4388965"/>
                    <a:ext cx="50262" cy="21319"/>
                  </a:xfrm>
                  <a:custGeom>
                    <a:avLst/>
                    <a:gdLst>
                      <a:gd name="connsiteX0" fmla="*/ 0 w 50262"/>
                      <a:gd name="connsiteY0" fmla="*/ 10476 h 21319"/>
                      <a:gd name="connsiteX1" fmla="*/ 22026 w 50262"/>
                      <a:gd name="connsiteY1" fmla="*/ 151 h 21319"/>
                      <a:gd name="connsiteX2" fmla="*/ 50247 w 50262"/>
                      <a:gd name="connsiteY2" fmla="*/ 14950 h 21319"/>
                      <a:gd name="connsiteX3" fmla="*/ 39578 w 50262"/>
                      <a:gd name="connsiteY3" fmla="*/ 19424 h 21319"/>
                      <a:gd name="connsiteX4" fmla="*/ 20994 w 50262"/>
                      <a:gd name="connsiteY4" fmla="*/ 13918 h 21319"/>
                      <a:gd name="connsiteX5" fmla="*/ 0 w 50262"/>
                      <a:gd name="connsiteY5" fmla="*/ 10476 h 21319"/>
                      <a:gd name="connsiteX6" fmla="*/ 0 w 50262"/>
                      <a:gd name="connsiteY6" fmla="*/ 10476 h 213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0262" h="21319">
                        <a:moveTo>
                          <a:pt x="0" y="10476"/>
                        </a:moveTo>
                        <a:cubicBezTo>
                          <a:pt x="0" y="8755"/>
                          <a:pt x="2409" y="1528"/>
                          <a:pt x="22026" y="151"/>
                        </a:cubicBezTo>
                        <a:cubicBezTo>
                          <a:pt x="41988" y="-1225"/>
                          <a:pt x="50247" y="7035"/>
                          <a:pt x="50247" y="14950"/>
                        </a:cubicBezTo>
                        <a:cubicBezTo>
                          <a:pt x="50592" y="22866"/>
                          <a:pt x="45085" y="22178"/>
                          <a:pt x="39578" y="19424"/>
                        </a:cubicBezTo>
                        <a:cubicBezTo>
                          <a:pt x="34072" y="16671"/>
                          <a:pt x="25468" y="14606"/>
                          <a:pt x="20994" y="13918"/>
                        </a:cubicBezTo>
                        <a:cubicBezTo>
                          <a:pt x="4474" y="10820"/>
                          <a:pt x="344" y="18736"/>
                          <a:pt x="0" y="10476"/>
                        </a:cubicBezTo>
                        <a:lnTo>
                          <a:pt x="0" y="10476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5" name="Freihandform: Form 194">
                    <a:extLst>
                      <a:ext uri="{FF2B5EF4-FFF2-40B4-BE49-F238E27FC236}">
                        <a16:creationId xmlns:a16="http://schemas.microsoft.com/office/drawing/2014/main" id="{7E3F19A0-C749-4560-A5B4-E82570117623}"/>
                      </a:ext>
                    </a:extLst>
                  </p:cNvPr>
                  <p:cNvSpPr/>
                  <p:nvPr/>
                </p:nvSpPr>
                <p:spPr>
                  <a:xfrm>
                    <a:off x="5087405" y="4435578"/>
                    <a:ext cx="40266" cy="47838"/>
                  </a:xfrm>
                  <a:custGeom>
                    <a:avLst/>
                    <a:gdLst>
                      <a:gd name="connsiteX0" fmla="*/ 40267 w 40266"/>
                      <a:gd name="connsiteY0" fmla="*/ 21682 h 47838"/>
                      <a:gd name="connsiteX1" fmla="*/ 17208 w 40266"/>
                      <a:gd name="connsiteY1" fmla="*/ 47838 h 47838"/>
                      <a:gd name="connsiteX2" fmla="*/ 0 w 40266"/>
                      <a:gd name="connsiteY2" fmla="*/ 25812 h 47838"/>
                      <a:gd name="connsiteX3" fmla="*/ 19273 w 40266"/>
                      <a:gd name="connsiteY3" fmla="*/ 0 h 47838"/>
                      <a:gd name="connsiteX4" fmla="*/ 40267 w 40266"/>
                      <a:gd name="connsiteY4" fmla="*/ 21682 h 47838"/>
                      <a:gd name="connsiteX5" fmla="*/ 40267 w 40266"/>
                      <a:gd name="connsiteY5" fmla="*/ 21682 h 478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0266" h="47838">
                        <a:moveTo>
                          <a:pt x="40267" y="21682"/>
                        </a:moveTo>
                        <a:cubicBezTo>
                          <a:pt x="40267" y="33728"/>
                          <a:pt x="26844" y="47838"/>
                          <a:pt x="17208" y="47838"/>
                        </a:cubicBezTo>
                        <a:cubicBezTo>
                          <a:pt x="7572" y="47838"/>
                          <a:pt x="0" y="37858"/>
                          <a:pt x="0" y="25812"/>
                        </a:cubicBezTo>
                        <a:cubicBezTo>
                          <a:pt x="0" y="13766"/>
                          <a:pt x="9981" y="344"/>
                          <a:pt x="19273" y="0"/>
                        </a:cubicBezTo>
                        <a:cubicBezTo>
                          <a:pt x="33384" y="0"/>
                          <a:pt x="40267" y="9636"/>
                          <a:pt x="40267" y="21682"/>
                        </a:cubicBezTo>
                        <a:lnTo>
                          <a:pt x="40267" y="2168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6" name="Freihandform: Form 195">
                    <a:extLst>
                      <a:ext uri="{FF2B5EF4-FFF2-40B4-BE49-F238E27FC236}">
                        <a16:creationId xmlns:a16="http://schemas.microsoft.com/office/drawing/2014/main" id="{853AB0F2-CF6A-4D41-912B-97676B407AC2}"/>
                      </a:ext>
                    </a:extLst>
                  </p:cNvPr>
                  <p:cNvSpPr/>
                  <p:nvPr/>
                </p:nvSpPr>
                <p:spPr>
                  <a:xfrm>
                    <a:off x="4963163" y="4414584"/>
                    <a:ext cx="6883" cy="5506"/>
                  </a:xfrm>
                  <a:custGeom>
                    <a:avLst/>
                    <a:gdLst>
                      <a:gd name="connsiteX0" fmla="*/ 6883 w 6883"/>
                      <a:gd name="connsiteY0" fmla="*/ 2753 h 5506"/>
                      <a:gd name="connsiteX1" fmla="*/ 3442 w 6883"/>
                      <a:gd name="connsiteY1" fmla="*/ 5507 h 5506"/>
                      <a:gd name="connsiteX2" fmla="*/ 0 w 6883"/>
                      <a:gd name="connsiteY2" fmla="*/ 2753 h 5506"/>
                      <a:gd name="connsiteX3" fmla="*/ 3442 w 6883"/>
                      <a:gd name="connsiteY3" fmla="*/ 0 h 5506"/>
                      <a:gd name="connsiteX4" fmla="*/ 6883 w 6883"/>
                      <a:gd name="connsiteY4" fmla="*/ 2753 h 5506"/>
                      <a:gd name="connsiteX5" fmla="*/ 6883 w 6883"/>
                      <a:gd name="connsiteY5" fmla="*/ 2753 h 55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883" h="5506">
                        <a:moveTo>
                          <a:pt x="6883" y="2753"/>
                        </a:moveTo>
                        <a:cubicBezTo>
                          <a:pt x="6883" y="4130"/>
                          <a:pt x="5162" y="5507"/>
                          <a:pt x="3442" y="5507"/>
                        </a:cubicBezTo>
                        <a:cubicBezTo>
                          <a:pt x="1377" y="5507"/>
                          <a:pt x="0" y="4130"/>
                          <a:pt x="0" y="2753"/>
                        </a:cubicBezTo>
                        <a:cubicBezTo>
                          <a:pt x="0" y="1377"/>
                          <a:pt x="1721" y="0"/>
                          <a:pt x="3442" y="0"/>
                        </a:cubicBezTo>
                        <a:cubicBezTo>
                          <a:pt x="5507" y="0"/>
                          <a:pt x="6883" y="1032"/>
                          <a:pt x="6883" y="2753"/>
                        </a:cubicBezTo>
                        <a:lnTo>
                          <a:pt x="6883" y="2753"/>
                        </a:lnTo>
                        <a:close/>
                      </a:path>
                    </a:pathLst>
                  </a:custGeom>
                  <a:solidFill>
                    <a:srgbClr val="B9B9A5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7" name="Freihandform: Form 196">
                    <a:extLst>
                      <a:ext uri="{FF2B5EF4-FFF2-40B4-BE49-F238E27FC236}">
                        <a16:creationId xmlns:a16="http://schemas.microsoft.com/office/drawing/2014/main" id="{17F2F3A3-71DD-406D-A96D-1656BEFC073C}"/>
                      </a:ext>
                    </a:extLst>
                  </p:cNvPr>
                  <p:cNvSpPr/>
                  <p:nvPr/>
                </p:nvSpPr>
                <p:spPr>
                  <a:xfrm>
                    <a:off x="5045073" y="4414584"/>
                    <a:ext cx="6883" cy="5506"/>
                  </a:xfrm>
                  <a:custGeom>
                    <a:avLst/>
                    <a:gdLst>
                      <a:gd name="connsiteX0" fmla="*/ 6883 w 6883"/>
                      <a:gd name="connsiteY0" fmla="*/ 2753 h 5506"/>
                      <a:gd name="connsiteX1" fmla="*/ 3442 w 6883"/>
                      <a:gd name="connsiteY1" fmla="*/ 5507 h 5506"/>
                      <a:gd name="connsiteX2" fmla="*/ 0 w 6883"/>
                      <a:gd name="connsiteY2" fmla="*/ 2753 h 5506"/>
                      <a:gd name="connsiteX3" fmla="*/ 3442 w 6883"/>
                      <a:gd name="connsiteY3" fmla="*/ 0 h 5506"/>
                      <a:gd name="connsiteX4" fmla="*/ 6883 w 6883"/>
                      <a:gd name="connsiteY4" fmla="*/ 2753 h 5506"/>
                      <a:gd name="connsiteX5" fmla="*/ 6883 w 6883"/>
                      <a:gd name="connsiteY5" fmla="*/ 2753 h 55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883" h="5506">
                        <a:moveTo>
                          <a:pt x="6883" y="2753"/>
                        </a:moveTo>
                        <a:cubicBezTo>
                          <a:pt x="6883" y="4130"/>
                          <a:pt x="5162" y="5507"/>
                          <a:pt x="3442" y="5507"/>
                        </a:cubicBezTo>
                        <a:cubicBezTo>
                          <a:pt x="1377" y="5507"/>
                          <a:pt x="0" y="4130"/>
                          <a:pt x="0" y="2753"/>
                        </a:cubicBezTo>
                        <a:cubicBezTo>
                          <a:pt x="0" y="1377"/>
                          <a:pt x="1721" y="0"/>
                          <a:pt x="3442" y="0"/>
                        </a:cubicBezTo>
                        <a:cubicBezTo>
                          <a:pt x="5162" y="0"/>
                          <a:pt x="6883" y="1032"/>
                          <a:pt x="6883" y="2753"/>
                        </a:cubicBezTo>
                        <a:lnTo>
                          <a:pt x="6883" y="2753"/>
                        </a:lnTo>
                        <a:close/>
                      </a:path>
                    </a:pathLst>
                  </a:custGeom>
                  <a:solidFill>
                    <a:srgbClr val="B9B9A5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" name="Freihandform: Form 197">
                    <a:extLst>
                      <a:ext uri="{FF2B5EF4-FFF2-40B4-BE49-F238E27FC236}">
                        <a16:creationId xmlns:a16="http://schemas.microsoft.com/office/drawing/2014/main" id="{4B1751A1-A5DB-46FD-9CE8-DCDE988B2BEB}"/>
                      </a:ext>
                    </a:extLst>
                  </p:cNvPr>
                  <p:cNvSpPr/>
                  <p:nvPr/>
                </p:nvSpPr>
                <p:spPr>
                  <a:xfrm>
                    <a:off x="4994825" y="4499247"/>
                    <a:ext cx="41299" cy="11701"/>
                  </a:xfrm>
                  <a:custGeom>
                    <a:avLst/>
                    <a:gdLst>
                      <a:gd name="connsiteX0" fmla="*/ 0 w 41299"/>
                      <a:gd name="connsiteY0" fmla="*/ 2065 h 11701"/>
                      <a:gd name="connsiteX1" fmla="*/ 10325 w 41299"/>
                      <a:gd name="connsiteY1" fmla="*/ 2409 h 11701"/>
                      <a:gd name="connsiteX2" fmla="*/ 19617 w 41299"/>
                      <a:gd name="connsiteY2" fmla="*/ 1032 h 11701"/>
                      <a:gd name="connsiteX3" fmla="*/ 29942 w 41299"/>
                      <a:gd name="connsiteY3" fmla="*/ 0 h 11701"/>
                      <a:gd name="connsiteX4" fmla="*/ 41299 w 41299"/>
                      <a:gd name="connsiteY4" fmla="*/ 1032 h 11701"/>
                      <a:gd name="connsiteX5" fmla="*/ 32007 w 41299"/>
                      <a:gd name="connsiteY5" fmla="*/ 7916 h 11701"/>
                      <a:gd name="connsiteX6" fmla="*/ 20994 w 41299"/>
                      <a:gd name="connsiteY6" fmla="*/ 11357 h 11701"/>
                      <a:gd name="connsiteX7" fmla="*/ 8948 w 41299"/>
                      <a:gd name="connsiteY7" fmla="*/ 10325 h 11701"/>
                      <a:gd name="connsiteX8" fmla="*/ 5851 w 41299"/>
                      <a:gd name="connsiteY8" fmla="*/ 8948 h 11701"/>
                      <a:gd name="connsiteX9" fmla="*/ 3097 w 41299"/>
                      <a:gd name="connsiteY9" fmla="*/ 7227 h 11701"/>
                      <a:gd name="connsiteX10" fmla="*/ 1032 w 41299"/>
                      <a:gd name="connsiteY10" fmla="*/ 4818 h 11701"/>
                      <a:gd name="connsiteX11" fmla="*/ 0 w 41299"/>
                      <a:gd name="connsiteY11" fmla="*/ 2065 h 11701"/>
                      <a:gd name="connsiteX12" fmla="*/ 0 w 41299"/>
                      <a:gd name="connsiteY12" fmla="*/ 2065 h 117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41299" h="11701">
                        <a:moveTo>
                          <a:pt x="0" y="2065"/>
                        </a:moveTo>
                        <a:cubicBezTo>
                          <a:pt x="4130" y="2753"/>
                          <a:pt x="7227" y="2753"/>
                          <a:pt x="10325" y="2409"/>
                        </a:cubicBezTo>
                        <a:cubicBezTo>
                          <a:pt x="13422" y="2065"/>
                          <a:pt x="16520" y="1377"/>
                          <a:pt x="19617" y="1032"/>
                        </a:cubicBezTo>
                        <a:cubicBezTo>
                          <a:pt x="22715" y="688"/>
                          <a:pt x="26156" y="0"/>
                          <a:pt x="29942" y="0"/>
                        </a:cubicBezTo>
                        <a:cubicBezTo>
                          <a:pt x="33384" y="0"/>
                          <a:pt x="37513" y="0"/>
                          <a:pt x="41299" y="1032"/>
                        </a:cubicBezTo>
                        <a:cubicBezTo>
                          <a:pt x="38202" y="4130"/>
                          <a:pt x="35448" y="6195"/>
                          <a:pt x="32007" y="7916"/>
                        </a:cubicBezTo>
                        <a:cubicBezTo>
                          <a:pt x="28565" y="9636"/>
                          <a:pt x="25124" y="11013"/>
                          <a:pt x="20994" y="11357"/>
                        </a:cubicBezTo>
                        <a:cubicBezTo>
                          <a:pt x="17208" y="12046"/>
                          <a:pt x="13078" y="11701"/>
                          <a:pt x="8948" y="10325"/>
                        </a:cubicBezTo>
                        <a:cubicBezTo>
                          <a:pt x="7916" y="9981"/>
                          <a:pt x="6883" y="9636"/>
                          <a:pt x="5851" y="8948"/>
                        </a:cubicBezTo>
                        <a:cubicBezTo>
                          <a:pt x="4818" y="8604"/>
                          <a:pt x="4130" y="7572"/>
                          <a:pt x="3097" y="7227"/>
                        </a:cubicBezTo>
                        <a:cubicBezTo>
                          <a:pt x="2409" y="6539"/>
                          <a:pt x="1721" y="5507"/>
                          <a:pt x="1032" y="4818"/>
                        </a:cubicBezTo>
                        <a:cubicBezTo>
                          <a:pt x="1032" y="4130"/>
                          <a:pt x="344" y="3097"/>
                          <a:pt x="0" y="2065"/>
                        </a:cubicBezTo>
                        <a:lnTo>
                          <a:pt x="0" y="206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9" name="Freihandform: Form 198">
                    <a:extLst>
                      <a:ext uri="{FF2B5EF4-FFF2-40B4-BE49-F238E27FC236}">
                        <a16:creationId xmlns:a16="http://schemas.microsoft.com/office/drawing/2014/main" id="{AE934F19-E805-4EF7-9C82-BCC5DB8B8D2C}"/>
                      </a:ext>
                    </a:extLst>
                  </p:cNvPr>
                  <p:cNvSpPr/>
                  <p:nvPr/>
                </p:nvSpPr>
                <p:spPr>
                  <a:xfrm>
                    <a:off x="4973828" y="4480653"/>
                    <a:ext cx="81913" cy="23613"/>
                  </a:xfrm>
                  <a:custGeom>
                    <a:avLst/>
                    <a:gdLst>
                      <a:gd name="connsiteX0" fmla="*/ 12737 w 81913"/>
                      <a:gd name="connsiteY0" fmla="*/ 23412 h 23613"/>
                      <a:gd name="connsiteX1" fmla="*/ 71589 w 81913"/>
                      <a:gd name="connsiteY1" fmla="*/ 22035 h 23613"/>
                      <a:gd name="connsiteX2" fmla="*/ 81913 w 81913"/>
                      <a:gd name="connsiteY2" fmla="*/ 11711 h 23613"/>
                      <a:gd name="connsiteX3" fmla="*/ 71589 w 81913"/>
                      <a:gd name="connsiteY3" fmla="*/ 1386 h 23613"/>
                      <a:gd name="connsiteX4" fmla="*/ 7231 w 81913"/>
                      <a:gd name="connsiteY4" fmla="*/ 3795 h 23613"/>
                      <a:gd name="connsiteX5" fmla="*/ 12737 w 81913"/>
                      <a:gd name="connsiteY5" fmla="*/ 23412 h 23613"/>
                      <a:gd name="connsiteX6" fmla="*/ 12737 w 81913"/>
                      <a:gd name="connsiteY6" fmla="*/ 23412 h 236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913" h="23613">
                        <a:moveTo>
                          <a:pt x="12737" y="23412"/>
                        </a:moveTo>
                        <a:cubicBezTo>
                          <a:pt x="32698" y="19970"/>
                          <a:pt x="51627" y="19626"/>
                          <a:pt x="71589" y="22035"/>
                        </a:cubicBezTo>
                        <a:cubicBezTo>
                          <a:pt x="77095" y="22724"/>
                          <a:pt x="81913" y="16873"/>
                          <a:pt x="81913" y="11711"/>
                        </a:cubicBezTo>
                        <a:cubicBezTo>
                          <a:pt x="81913" y="5516"/>
                          <a:pt x="77095" y="2074"/>
                          <a:pt x="71589" y="1386"/>
                        </a:cubicBezTo>
                        <a:cubicBezTo>
                          <a:pt x="49562" y="-1023"/>
                          <a:pt x="28913" y="-335"/>
                          <a:pt x="7231" y="3795"/>
                        </a:cubicBezTo>
                        <a:cubicBezTo>
                          <a:pt x="-5503" y="5860"/>
                          <a:pt x="3" y="25821"/>
                          <a:pt x="12737" y="23412"/>
                        </a:cubicBezTo>
                        <a:lnTo>
                          <a:pt x="12737" y="2341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0" name="Freihandform: Form 199">
                    <a:extLst>
                      <a:ext uri="{FF2B5EF4-FFF2-40B4-BE49-F238E27FC236}">
                        <a16:creationId xmlns:a16="http://schemas.microsoft.com/office/drawing/2014/main" id="{82F35B84-129C-4D89-AEA7-E5EAF8DE2582}"/>
                      </a:ext>
                    </a:extLst>
                  </p:cNvPr>
                  <p:cNvSpPr/>
                  <p:nvPr/>
                </p:nvSpPr>
                <p:spPr>
                  <a:xfrm>
                    <a:off x="4992824" y="4464814"/>
                    <a:ext cx="43508" cy="14472"/>
                  </a:xfrm>
                  <a:custGeom>
                    <a:avLst/>
                    <a:gdLst>
                      <a:gd name="connsiteX0" fmla="*/ 1313 w 43508"/>
                      <a:gd name="connsiteY0" fmla="*/ 3803 h 14472"/>
                      <a:gd name="connsiteX1" fmla="*/ 1658 w 43508"/>
                      <a:gd name="connsiteY1" fmla="*/ 10342 h 14472"/>
                      <a:gd name="connsiteX2" fmla="*/ 8885 w 43508"/>
                      <a:gd name="connsiteY2" fmla="*/ 9654 h 14472"/>
                      <a:gd name="connsiteX3" fmla="*/ 20242 w 43508"/>
                      <a:gd name="connsiteY3" fmla="*/ 14472 h 14472"/>
                      <a:gd name="connsiteX4" fmla="*/ 37450 w 43508"/>
                      <a:gd name="connsiteY4" fmla="*/ 6901 h 14472"/>
                      <a:gd name="connsiteX5" fmla="*/ 42613 w 43508"/>
                      <a:gd name="connsiteY5" fmla="*/ 9998 h 14472"/>
                      <a:gd name="connsiteX6" fmla="*/ 39515 w 43508"/>
                      <a:gd name="connsiteY6" fmla="*/ 18 h 14472"/>
                      <a:gd name="connsiteX7" fmla="*/ 28846 w 43508"/>
                      <a:gd name="connsiteY7" fmla="*/ 5180 h 14472"/>
                      <a:gd name="connsiteX8" fmla="*/ 9917 w 43508"/>
                      <a:gd name="connsiteY8" fmla="*/ 1738 h 14472"/>
                      <a:gd name="connsiteX9" fmla="*/ 1313 w 43508"/>
                      <a:gd name="connsiteY9" fmla="*/ 3803 h 14472"/>
                      <a:gd name="connsiteX10" fmla="*/ 1313 w 43508"/>
                      <a:gd name="connsiteY10" fmla="*/ 3803 h 144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3508" h="14472">
                        <a:moveTo>
                          <a:pt x="1313" y="3803"/>
                        </a:moveTo>
                        <a:cubicBezTo>
                          <a:pt x="625" y="5180"/>
                          <a:pt x="-1440" y="11031"/>
                          <a:pt x="1658" y="10342"/>
                        </a:cubicBezTo>
                        <a:cubicBezTo>
                          <a:pt x="4755" y="9654"/>
                          <a:pt x="5099" y="7933"/>
                          <a:pt x="8885" y="9654"/>
                        </a:cubicBezTo>
                        <a:cubicBezTo>
                          <a:pt x="12326" y="11375"/>
                          <a:pt x="15424" y="14472"/>
                          <a:pt x="20242" y="14472"/>
                        </a:cubicBezTo>
                        <a:cubicBezTo>
                          <a:pt x="32288" y="14472"/>
                          <a:pt x="34353" y="6212"/>
                          <a:pt x="37450" y="6901"/>
                        </a:cubicBezTo>
                        <a:cubicBezTo>
                          <a:pt x="40548" y="7589"/>
                          <a:pt x="39515" y="10342"/>
                          <a:pt x="42613" y="9998"/>
                        </a:cubicBezTo>
                        <a:cubicBezTo>
                          <a:pt x="43989" y="9998"/>
                          <a:pt x="44333" y="362"/>
                          <a:pt x="39515" y="18"/>
                        </a:cubicBezTo>
                        <a:cubicBezTo>
                          <a:pt x="36762" y="-327"/>
                          <a:pt x="34697" y="4492"/>
                          <a:pt x="28846" y="5180"/>
                        </a:cubicBezTo>
                        <a:cubicBezTo>
                          <a:pt x="22995" y="5868"/>
                          <a:pt x="14391" y="5524"/>
                          <a:pt x="9917" y="1738"/>
                        </a:cubicBezTo>
                        <a:cubicBezTo>
                          <a:pt x="5099" y="-1703"/>
                          <a:pt x="2346" y="2083"/>
                          <a:pt x="1313" y="3803"/>
                        </a:cubicBezTo>
                        <a:lnTo>
                          <a:pt x="1313" y="3803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1" name="Freihandform: Form 200">
                    <a:extLst>
                      <a:ext uri="{FF2B5EF4-FFF2-40B4-BE49-F238E27FC236}">
                        <a16:creationId xmlns:a16="http://schemas.microsoft.com/office/drawing/2014/main" id="{0982043A-D665-4641-B8CA-56624B346554}"/>
                      </a:ext>
                    </a:extLst>
                  </p:cNvPr>
                  <p:cNvSpPr/>
                  <p:nvPr/>
                </p:nvSpPr>
                <p:spPr>
                  <a:xfrm>
                    <a:off x="4893298" y="4277608"/>
                    <a:ext cx="249516" cy="169326"/>
                  </a:xfrm>
                  <a:custGeom>
                    <a:avLst/>
                    <a:gdLst>
                      <a:gd name="connsiteX0" fmla="*/ 344 w 249516"/>
                      <a:gd name="connsiteY0" fmla="*/ 164164 h 169326"/>
                      <a:gd name="connsiteX1" fmla="*/ 31319 w 249516"/>
                      <a:gd name="connsiteY1" fmla="*/ 145580 h 169326"/>
                      <a:gd name="connsiteX2" fmla="*/ 30630 w 249516"/>
                      <a:gd name="connsiteY2" fmla="*/ 105657 h 169326"/>
                      <a:gd name="connsiteX3" fmla="*/ 68488 w 249516"/>
                      <a:gd name="connsiteY3" fmla="*/ 77092 h 169326"/>
                      <a:gd name="connsiteX4" fmla="*/ 119079 w 249516"/>
                      <a:gd name="connsiteY4" fmla="*/ 89137 h 169326"/>
                      <a:gd name="connsiteX5" fmla="*/ 173112 w 249516"/>
                      <a:gd name="connsiteY5" fmla="*/ 77780 h 169326"/>
                      <a:gd name="connsiteX6" fmla="*/ 207873 w 249516"/>
                      <a:gd name="connsiteY6" fmla="*/ 105657 h 169326"/>
                      <a:gd name="connsiteX7" fmla="*/ 205464 w 249516"/>
                      <a:gd name="connsiteY7" fmla="*/ 146268 h 169326"/>
                      <a:gd name="connsiteX8" fmla="*/ 237815 w 249516"/>
                      <a:gd name="connsiteY8" fmla="*/ 169327 h 169326"/>
                      <a:gd name="connsiteX9" fmla="*/ 249516 w 249516"/>
                      <a:gd name="connsiteY9" fmla="*/ 144203 h 169326"/>
                      <a:gd name="connsiteX10" fmla="*/ 216477 w 249516"/>
                      <a:gd name="connsiteY10" fmla="*/ 13766 h 169326"/>
                      <a:gd name="connsiteX11" fmla="*/ 76059 w 249516"/>
                      <a:gd name="connsiteY11" fmla="*/ 0 h 169326"/>
                      <a:gd name="connsiteX12" fmla="*/ 20305 w 249516"/>
                      <a:gd name="connsiteY12" fmla="*/ 18240 h 169326"/>
                      <a:gd name="connsiteX13" fmla="*/ 0 w 249516"/>
                      <a:gd name="connsiteY13" fmla="*/ 146268 h 169326"/>
                      <a:gd name="connsiteX14" fmla="*/ 0 w 249516"/>
                      <a:gd name="connsiteY14" fmla="*/ 164164 h 169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49516" h="169326">
                        <a:moveTo>
                          <a:pt x="344" y="164164"/>
                        </a:moveTo>
                        <a:cubicBezTo>
                          <a:pt x="20650" y="156937"/>
                          <a:pt x="32007" y="161755"/>
                          <a:pt x="31319" y="145580"/>
                        </a:cubicBezTo>
                        <a:cubicBezTo>
                          <a:pt x="30974" y="130781"/>
                          <a:pt x="30630" y="111852"/>
                          <a:pt x="30630" y="105657"/>
                        </a:cubicBezTo>
                        <a:cubicBezTo>
                          <a:pt x="30630" y="91891"/>
                          <a:pt x="42332" y="71241"/>
                          <a:pt x="68488" y="77092"/>
                        </a:cubicBezTo>
                        <a:cubicBezTo>
                          <a:pt x="81910" y="80189"/>
                          <a:pt x="93956" y="89137"/>
                          <a:pt x="119079" y="89137"/>
                        </a:cubicBezTo>
                        <a:cubicBezTo>
                          <a:pt x="144547" y="89137"/>
                          <a:pt x="144203" y="81566"/>
                          <a:pt x="173112" y="77780"/>
                        </a:cubicBezTo>
                        <a:cubicBezTo>
                          <a:pt x="203399" y="73994"/>
                          <a:pt x="207873" y="87761"/>
                          <a:pt x="207873" y="105657"/>
                        </a:cubicBezTo>
                        <a:cubicBezTo>
                          <a:pt x="207873" y="112884"/>
                          <a:pt x="206152" y="132846"/>
                          <a:pt x="205464" y="146268"/>
                        </a:cubicBezTo>
                        <a:cubicBezTo>
                          <a:pt x="204775" y="163476"/>
                          <a:pt x="219918" y="154872"/>
                          <a:pt x="237815" y="169327"/>
                        </a:cubicBezTo>
                        <a:lnTo>
                          <a:pt x="249516" y="144203"/>
                        </a:lnTo>
                        <a:lnTo>
                          <a:pt x="216477" y="13766"/>
                        </a:lnTo>
                        <a:lnTo>
                          <a:pt x="76059" y="0"/>
                        </a:lnTo>
                        <a:lnTo>
                          <a:pt x="20305" y="18240"/>
                        </a:lnTo>
                        <a:lnTo>
                          <a:pt x="0" y="146268"/>
                        </a:lnTo>
                        <a:lnTo>
                          <a:pt x="0" y="164164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10000"/>
                    </a:schemeClr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202" name="Grafik 129">
                  <a:extLst>
                    <a:ext uri="{FF2B5EF4-FFF2-40B4-BE49-F238E27FC236}">
                      <a16:creationId xmlns:a16="http://schemas.microsoft.com/office/drawing/2014/main" id="{59741B19-54F3-4B50-B1DC-F7990CFAE842}"/>
                    </a:ext>
                  </a:extLst>
                </p:cNvPr>
                <p:cNvGrpSpPr/>
                <p:nvPr/>
              </p:nvGrpSpPr>
              <p:grpSpPr>
                <a:xfrm>
                  <a:off x="4927421" y="4399441"/>
                  <a:ext cx="171356" cy="57474"/>
                  <a:chOff x="4927421" y="4399441"/>
                  <a:chExt cx="171356" cy="57474"/>
                </a:xfrm>
                <a:solidFill>
                  <a:srgbClr val="788791"/>
                </a:solidFill>
              </p:grpSpPr>
              <p:sp>
                <p:nvSpPr>
                  <p:cNvPr id="203" name="Freihandform: Form 202">
                    <a:extLst>
                      <a:ext uri="{FF2B5EF4-FFF2-40B4-BE49-F238E27FC236}">
                        <a16:creationId xmlns:a16="http://schemas.microsoft.com/office/drawing/2014/main" id="{72D9CB96-EB94-4617-8791-278972BDF531}"/>
                      </a:ext>
                    </a:extLst>
                  </p:cNvPr>
                  <p:cNvSpPr/>
                  <p:nvPr/>
                </p:nvSpPr>
                <p:spPr>
                  <a:xfrm>
                    <a:off x="4994567" y="4417595"/>
                    <a:ext cx="36997" cy="14110"/>
                  </a:xfrm>
                  <a:custGeom>
                    <a:avLst/>
                    <a:gdLst>
                      <a:gd name="connsiteX0" fmla="*/ 32953 w 36997"/>
                      <a:gd name="connsiteY0" fmla="*/ 13852 h 14110"/>
                      <a:gd name="connsiteX1" fmla="*/ 30200 w 36997"/>
                      <a:gd name="connsiteY1" fmla="*/ 12820 h 14110"/>
                      <a:gd name="connsiteX2" fmla="*/ 7141 w 36997"/>
                      <a:gd name="connsiteY2" fmla="*/ 12820 h 14110"/>
                      <a:gd name="connsiteX3" fmla="*/ 1291 w 36997"/>
                      <a:gd name="connsiteY3" fmla="*/ 12820 h 14110"/>
                      <a:gd name="connsiteX4" fmla="*/ 1291 w 36997"/>
                      <a:gd name="connsiteY4" fmla="*/ 6969 h 14110"/>
                      <a:gd name="connsiteX5" fmla="*/ 35707 w 36997"/>
                      <a:gd name="connsiteY5" fmla="*/ 6969 h 14110"/>
                      <a:gd name="connsiteX6" fmla="*/ 35707 w 36997"/>
                      <a:gd name="connsiteY6" fmla="*/ 12820 h 14110"/>
                      <a:gd name="connsiteX7" fmla="*/ 32953 w 36997"/>
                      <a:gd name="connsiteY7" fmla="*/ 13852 h 141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997" h="14110">
                        <a:moveTo>
                          <a:pt x="32953" y="13852"/>
                        </a:moveTo>
                        <a:cubicBezTo>
                          <a:pt x="31921" y="13852"/>
                          <a:pt x="30888" y="13508"/>
                          <a:pt x="30200" y="12820"/>
                        </a:cubicBezTo>
                        <a:cubicBezTo>
                          <a:pt x="24005" y="6625"/>
                          <a:pt x="13336" y="6625"/>
                          <a:pt x="7141" y="12820"/>
                        </a:cubicBezTo>
                        <a:cubicBezTo>
                          <a:pt x="5421" y="14541"/>
                          <a:pt x="3011" y="14541"/>
                          <a:pt x="1291" y="12820"/>
                        </a:cubicBezTo>
                        <a:cubicBezTo>
                          <a:pt x="-430" y="11099"/>
                          <a:pt x="-430" y="8690"/>
                          <a:pt x="1291" y="6969"/>
                        </a:cubicBezTo>
                        <a:cubicBezTo>
                          <a:pt x="10583" y="-2323"/>
                          <a:pt x="26758" y="-2323"/>
                          <a:pt x="35707" y="6969"/>
                        </a:cubicBezTo>
                        <a:cubicBezTo>
                          <a:pt x="37427" y="8690"/>
                          <a:pt x="37427" y="11099"/>
                          <a:pt x="35707" y="12820"/>
                        </a:cubicBezTo>
                        <a:cubicBezTo>
                          <a:pt x="35018" y="13508"/>
                          <a:pt x="33986" y="13852"/>
                          <a:pt x="32953" y="13852"/>
                        </a:cubicBezTo>
                        <a:close/>
                      </a:path>
                    </a:pathLst>
                  </a:custGeom>
                  <a:solidFill>
                    <a:srgbClr val="CCCCD4"/>
                  </a:solidFill>
                  <a:ln w="342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04" name="Grafik 129">
                    <a:extLst>
                      <a:ext uri="{FF2B5EF4-FFF2-40B4-BE49-F238E27FC236}">
                        <a16:creationId xmlns:a16="http://schemas.microsoft.com/office/drawing/2014/main" id="{59741B19-54F3-4B50-B1DC-F7990CFAE842}"/>
                      </a:ext>
                    </a:extLst>
                  </p:cNvPr>
                  <p:cNvGrpSpPr/>
                  <p:nvPr/>
                </p:nvGrpSpPr>
                <p:grpSpPr>
                  <a:xfrm>
                    <a:off x="4927421" y="4399441"/>
                    <a:ext cx="171356" cy="57474"/>
                    <a:chOff x="4927421" y="4399441"/>
                    <a:chExt cx="171356" cy="57474"/>
                  </a:xfrm>
                  <a:solidFill>
                    <a:srgbClr val="788791"/>
                  </a:solidFill>
                </p:grpSpPr>
                <p:sp>
                  <p:nvSpPr>
                    <p:cNvPr id="205" name="Freihandform: Form 204">
                      <a:extLst>
                        <a:ext uri="{FF2B5EF4-FFF2-40B4-BE49-F238E27FC236}">
                          <a16:creationId xmlns:a16="http://schemas.microsoft.com/office/drawing/2014/main" id="{FD9300BE-280C-4FB8-BC65-F81337D4A1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27421" y="4399441"/>
                      <a:ext cx="77729" cy="57474"/>
                    </a:xfrm>
                    <a:custGeom>
                      <a:avLst/>
                      <a:gdLst>
                        <a:gd name="connsiteX0" fmla="*/ 74632 w 77729"/>
                        <a:gd name="connsiteY0" fmla="*/ 6539 h 57474"/>
                        <a:gd name="connsiteX1" fmla="*/ 68093 w 77729"/>
                        <a:gd name="connsiteY1" fmla="*/ 4818 h 57474"/>
                        <a:gd name="connsiteX2" fmla="*/ 31268 w 77729"/>
                        <a:gd name="connsiteY2" fmla="*/ 0 h 57474"/>
                        <a:gd name="connsiteX3" fmla="*/ 17846 w 77729"/>
                        <a:gd name="connsiteY3" fmla="*/ 1377 h 57474"/>
                        <a:gd name="connsiteX4" fmla="*/ 1326 w 77729"/>
                        <a:gd name="connsiteY4" fmla="*/ 11013 h 57474"/>
                        <a:gd name="connsiteX5" fmla="*/ 638 w 77729"/>
                        <a:gd name="connsiteY5" fmla="*/ 12734 h 57474"/>
                        <a:gd name="connsiteX6" fmla="*/ 10274 w 77729"/>
                        <a:gd name="connsiteY6" fmla="*/ 52656 h 57474"/>
                        <a:gd name="connsiteX7" fmla="*/ 38839 w 77729"/>
                        <a:gd name="connsiteY7" fmla="*/ 57475 h 57474"/>
                        <a:gd name="connsiteX8" fmla="*/ 64996 w 77729"/>
                        <a:gd name="connsiteY8" fmla="*/ 49215 h 57474"/>
                        <a:gd name="connsiteX9" fmla="*/ 73944 w 77729"/>
                        <a:gd name="connsiteY9" fmla="*/ 30974 h 57474"/>
                        <a:gd name="connsiteX10" fmla="*/ 76353 w 77729"/>
                        <a:gd name="connsiteY10" fmla="*/ 19961 h 57474"/>
                        <a:gd name="connsiteX11" fmla="*/ 77385 w 77729"/>
                        <a:gd name="connsiteY11" fmla="*/ 11013 h 57474"/>
                        <a:gd name="connsiteX12" fmla="*/ 77729 w 77729"/>
                        <a:gd name="connsiteY12" fmla="*/ 7916 h 57474"/>
                        <a:gd name="connsiteX13" fmla="*/ 74632 w 77729"/>
                        <a:gd name="connsiteY13" fmla="*/ 6539 h 57474"/>
                        <a:gd name="connsiteX14" fmla="*/ 58801 w 77729"/>
                        <a:gd name="connsiteY14" fmla="*/ 44052 h 57474"/>
                        <a:gd name="connsiteX15" fmla="*/ 51229 w 77729"/>
                        <a:gd name="connsiteY15" fmla="*/ 48182 h 57474"/>
                        <a:gd name="connsiteX16" fmla="*/ 38839 w 77729"/>
                        <a:gd name="connsiteY16" fmla="*/ 49559 h 57474"/>
                        <a:gd name="connsiteX17" fmla="*/ 13372 w 77729"/>
                        <a:gd name="connsiteY17" fmla="*/ 45429 h 57474"/>
                        <a:gd name="connsiteX18" fmla="*/ 8553 w 77729"/>
                        <a:gd name="connsiteY18" fmla="*/ 14799 h 57474"/>
                        <a:gd name="connsiteX19" fmla="*/ 31268 w 77729"/>
                        <a:gd name="connsiteY19" fmla="*/ 8260 h 57474"/>
                        <a:gd name="connsiteX20" fmla="*/ 69125 w 77729"/>
                        <a:gd name="connsiteY20" fmla="*/ 13766 h 57474"/>
                        <a:gd name="connsiteX21" fmla="*/ 58801 w 77729"/>
                        <a:gd name="connsiteY21" fmla="*/ 44052 h 5747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77729" h="57474">
                          <a:moveTo>
                            <a:pt x="74632" y="6539"/>
                          </a:moveTo>
                          <a:cubicBezTo>
                            <a:pt x="74288" y="6539"/>
                            <a:pt x="71879" y="5851"/>
                            <a:pt x="68093" y="4818"/>
                          </a:cubicBezTo>
                          <a:cubicBezTo>
                            <a:pt x="59833" y="2753"/>
                            <a:pt x="45034" y="0"/>
                            <a:pt x="31268" y="0"/>
                          </a:cubicBezTo>
                          <a:cubicBezTo>
                            <a:pt x="26105" y="0"/>
                            <a:pt x="21631" y="344"/>
                            <a:pt x="17846" y="1377"/>
                          </a:cubicBezTo>
                          <a:cubicBezTo>
                            <a:pt x="9930" y="3097"/>
                            <a:pt x="4768" y="6195"/>
                            <a:pt x="1326" y="11013"/>
                          </a:cubicBezTo>
                          <a:lnTo>
                            <a:pt x="638" y="12734"/>
                          </a:lnTo>
                          <a:cubicBezTo>
                            <a:pt x="-51" y="18585"/>
                            <a:pt x="-2460" y="47150"/>
                            <a:pt x="10274" y="52656"/>
                          </a:cubicBezTo>
                          <a:cubicBezTo>
                            <a:pt x="15781" y="55066"/>
                            <a:pt x="27138" y="57475"/>
                            <a:pt x="38839" y="57475"/>
                          </a:cubicBezTo>
                          <a:cubicBezTo>
                            <a:pt x="47443" y="57475"/>
                            <a:pt x="58801" y="56098"/>
                            <a:pt x="64996" y="49215"/>
                          </a:cubicBezTo>
                          <a:cubicBezTo>
                            <a:pt x="69125" y="44741"/>
                            <a:pt x="71879" y="37513"/>
                            <a:pt x="73944" y="30974"/>
                          </a:cubicBezTo>
                          <a:cubicBezTo>
                            <a:pt x="74976" y="27189"/>
                            <a:pt x="76009" y="23059"/>
                            <a:pt x="76353" y="19961"/>
                          </a:cubicBezTo>
                          <a:cubicBezTo>
                            <a:pt x="77385" y="14799"/>
                            <a:pt x="77385" y="11357"/>
                            <a:pt x="77385" y="11013"/>
                          </a:cubicBezTo>
                          <a:lnTo>
                            <a:pt x="77729" y="7916"/>
                          </a:lnTo>
                          <a:lnTo>
                            <a:pt x="74632" y="6539"/>
                          </a:lnTo>
                          <a:close/>
                          <a:moveTo>
                            <a:pt x="58801" y="44052"/>
                          </a:moveTo>
                          <a:cubicBezTo>
                            <a:pt x="57080" y="45773"/>
                            <a:pt x="54671" y="47150"/>
                            <a:pt x="51229" y="48182"/>
                          </a:cubicBezTo>
                          <a:cubicBezTo>
                            <a:pt x="47788" y="49215"/>
                            <a:pt x="43658" y="49559"/>
                            <a:pt x="38839" y="49559"/>
                          </a:cubicBezTo>
                          <a:cubicBezTo>
                            <a:pt x="28859" y="49559"/>
                            <a:pt x="18534" y="47494"/>
                            <a:pt x="13372" y="45429"/>
                          </a:cubicBezTo>
                          <a:cubicBezTo>
                            <a:pt x="8209" y="43364"/>
                            <a:pt x="7177" y="26844"/>
                            <a:pt x="8553" y="14799"/>
                          </a:cubicBezTo>
                          <a:cubicBezTo>
                            <a:pt x="11995" y="10325"/>
                            <a:pt x="19911" y="8260"/>
                            <a:pt x="31268" y="8260"/>
                          </a:cubicBezTo>
                          <a:cubicBezTo>
                            <a:pt x="46067" y="8260"/>
                            <a:pt x="62242" y="12046"/>
                            <a:pt x="69125" y="13766"/>
                          </a:cubicBezTo>
                          <a:cubicBezTo>
                            <a:pt x="68093" y="21682"/>
                            <a:pt x="64996" y="37169"/>
                            <a:pt x="58801" y="44052"/>
                          </a:cubicBezTo>
                          <a:close/>
                        </a:path>
                      </a:pathLst>
                    </a:custGeom>
                    <a:solidFill>
                      <a:srgbClr val="CCCCD4"/>
                    </a:solidFill>
                    <a:ln w="34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" name="Freihandform: Form 205">
                      <a:extLst>
                        <a:ext uri="{FF2B5EF4-FFF2-40B4-BE49-F238E27FC236}">
                          <a16:creationId xmlns:a16="http://schemas.microsoft.com/office/drawing/2014/main" id="{03104061-28A6-4EEF-9C41-C968063EF9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20982" y="4399441"/>
                      <a:ext cx="77795" cy="57130"/>
                    </a:xfrm>
                    <a:custGeom>
                      <a:avLst/>
                      <a:gdLst>
                        <a:gd name="connsiteX0" fmla="*/ 77092 w 77795"/>
                        <a:gd name="connsiteY0" fmla="*/ 12734 h 57130"/>
                        <a:gd name="connsiteX1" fmla="*/ 76404 w 77795"/>
                        <a:gd name="connsiteY1" fmla="*/ 11013 h 57130"/>
                        <a:gd name="connsiteX2" fmla="*/ 62293 w 77795"/>
                        <a:gd name="connsiteY2" fmla="*/ 1721 h 57130"/>
                        <a:gd name="connsiteX3" fmla="*/ 46462 w 77795"/>
                        <a:gd name="connsiteY3" fmla="*/ 0 h 57130"/>
                        <a:gd name="connsiteX4" fmla="*/ 14799 w 77795"/>
                        <a:gd name="connsiteY4" fmla="*/ 3786 h 57130"/>
                        <a:gd name="connsiteX5" fmla="*/ 3097 w 77795"/>
                        <a:gd name="connsiteY5" fmla="*/ 6539 h 57130"/>
                        <a:gd name="connsiteX6" fmla="*/ 0 w 77795"/>
                        <a:gd name="connsiteY6" fmla="*/ 7572 h 57130"/>
                        <a:gd name="connsiteX7" fmla="*/ 344 w 77795"/>
                        <a:gd name="connsiteY7" fmla="*/ 10669 h 57130"/>
                        <a:gd name="connsiteX8" fmla="*/ 1721 w 77795"/>
                        <a:gd name="connsiteY8" fmla="*/ 19617 h 57130"/>
                        <a:gd name="connsiteX9" fmla="*/ 4130 w 77795"/>
                        <a:gd name="connsiteY9" fmla="*/ 30630 h 57130"/>
                        <a:gd name="connsiteX10" fmla="*/ 13078 w 77795"/>
                        <a:gd name="connsiteY10" fmla="*/ 48871 h 57130"/>
                        <a:gd name="connsiteX11" fmla="*/ 39234 w 77795"/>
                        <a:gd name="connsiteY11" fmla="*/ 57131 h 57130"/>
                        <a:gd name="connsiteX12" fmla="*/ 67800 w 77795"/>
                        <a:gd name="connsiteY12" fmla="*/ 52312 h 57130"/>
                        <a:gd name="connsiteX13" fmla="*/ 69176 w 77795"/>
                        <a:gd name="connsiteY13" fmla="*/ 51624 h 57130"/>
                        <a:gd name="connsiteX14" fmla="*/ 76404 w 77795"/>
                        <a:gd name="connsiteY14" fmla="*/ 40955 h 57130"/>
                        <a:gd name="connsiteX15" fmla="*/ 77092 w 77795"/>
                        <a:gd name="connsiteY15" fmla="*/ 12734 h 57130"/>
                        <a:gd name="connsiteX16" fmla="*/ 64358 w 77795"/>
                        <a:gd name="connsiteY16" fmla="*/ 45085 h 57130"/>
                        <a:gd name="connsiteX17" fmla="*/ 38890 w 77795"/>
                        <a:gd name="connsiteY17" fmla="*/ 49215 h 57130"/>
                        <a:gd name="connsiteX18" fmla="*/ 18929 w 77795"/>
                        <a:gd name="connsiteY18" fmla="*/ 43708 h 57130"/>
                        <a:gd name="connsiteX19" fmla="*/ 8604 w 77795"/>
                        <a:gd name="connsiteY19" fmla="*/ 13422 h 57130"/>
                        <a:gd name="connsiteX20" fmla="*/ 46462 w 77795"/>
                        <a:gd name="connsiteY20" fmla="*/ 7916 h 57130"/>
                        <a:gd name="connsiteX21" fmla="*/ 69176 w 77795"/>
                        <a:gd name="connsiteY21" fmla="*/ 14455 h 57130"/>
                        <a:gd name="connsiteX22" fmla="*/ 64358 w 77795"/>
                        <a:gd name="connsiteY22" fmla="*/ 45085 h 5713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</a:cxnLst>
                      <a:rect l="l" t="t" r="r" b="b"/>
                      <a:pathLst>
                        <a:path w="77795" h="57130">
                          <a:moveTo>
                            <a:pt x="77092" y="12734"/>
                          </a:moveTo>
                          <a:lnTo>
                            <a:pt x="76404" y="11013"/>
                          </a:lnTo>
                          <a:cubicBezTo>
                            <a:pt x="73650" y="6539"/>
                            <a:pt x="68832" y="3786"/>
                            <a:pt x="62293" y="1721"/>
                          </a:cubicBezTo>
                          <a:cubicBezTo>
                            <a:pt x="57819" y="688"/>
                            <a:pt x="52656" y="0"/>
                            <a:pt x="46462" y="0"/>
                          </a:cubicBezTo>
                          <a:cubicBezTo>
                            <a:pt x="35104" y="0"/>
                            <a:pt x="23059" y="2065"/>
                            <a:pt x="14799" y="3786"/>
                          </a:cubicBezTo>
                          <a:cubicBezTo>
                            <a:pt x="8260" y="5162"/>
                            <a:pt x="3442" y="6539"/>
                            <a:pt x="3097" y="6539"/>
                          </a:cubicBezTo>
                          <a:lnTo>
                            <a:pt x="0" y="7572"/>
                          </a:lnTo>
                          <a:lnTo>
                            <a:pt x="344" y="10669"/>
                          </a:lnTo>
                          <a:cubicBezTo>
                            <a:pt x="344" y="11013"/>
                            <a:pt x="688" y="14799"/>
                            <a:pt x="1721" y="19617"/>
                          </a:cubicBezTo>
                          <a:cubicBezTo>
                            <a:pt x="2409" y="23059"/>
                            <a:pt x="3097" y="26844"/>
                            <a:pt x="4130" y="30630"/>
                          </a:cubicBezTo>
                          <a:cubicBezTo>
                            <a:pt x="6195" y="37513"/>
                            <a:pt x="8948" y="44397"/>
                            <a:pt x="13078" y="48871"/>
                          </a:cubicBezTo>
                          <a:cubicBezTo>
                            <a:pt x="19273" y="55754"/>
                            <a:pt x="30630" y="57131"/>
                            <a:pt x="39234" y="57131"/>
                          </a:cubicBezTo>
                          <a:cubicBezTo>
                            <a:pt x="50936" y="57131"/>
                            <a:pt x="62293" y="54721"/>
                            <a:pt x="67800" y="52312"/>
                          </a:cubicBezTo>
                          <a:cubicBezTo>
                            <a:pt x="68144" y="51968"/>
                            <a:pt x="68832" y="51968"/>
                            <a:pt x="69176" y="51624"/>
                          </a:cubicBezTo>
                          <a:cubicBezTo>
                            <a:pt x="72618" y="49559"/>
                            <a:pt x="75027" y="45773"/>
                            <a:pt x="76404" y="40955"/>
                          </a:cubicBezTo>
                          <a:cubicBezTo>
                            <a:pt x="78813" y="30974"/>
                            <a:pt x="77436" y="16520"/>
                            <a:pt x="77092" y="12734"/>
                          </a:cubicBezTo>
                          <a:close/>
                          <a:moveTo>
                            <a:pt x="64358" y="45085"/>
                          </a:moveTo>
                          <a:cubicBezTo>
                            <a:pt x="59196" y="47150"/>
                            <a:pt x="48871" y="49215"/>
                            <a:pt x="38890" y="49215"/>
                          </a:cubicBezTo>
                          <a:cubicBezTo>
                            <a:pt x="29254" y="49215"/>
                            <a:pt x="22026" y="47150"/>
                            <a:pt x="18929" y="43708"/>
                          </a:cubicBezTo>
                          <a:cubicBezTo>
                            <a:pt x="12734" y="36825"/>
                            <a:pt x="9636" y="21682"/>
                            <a:pt x="8604" y="13422"/>
                          </a:cubicBezTo>
                          <a:cubicBezTo>
                            <a:pt x="15487" y="11701"/>
                            <a:pt x="32007" y="7916"/>
                            <a:pt x="46462" y="7916"/>
                          </a:cubicBezTo>
                          <a:cubicBezTo>
                            <a:pt x="57819" y="7916"/>
                            <a:pt x="65735" y="10325"/>
                            <a:pt x="69176" y="14455"/>
                          </a:cubicBezTo>
                          <a:cubicBezTo>
                            <a:pt x="70209" y="26500"/>
                            <a:pt x="69176" y="43020"/>
                            <a:pt x="64358" y="45085"/>
                          </a:cubicBezTo>
                          <a:close/>
                        </a:path>
                      </a:pathLst>
                    </a:custGeom>
                    <a:solidFill>
                      <a:srgbClr val="CCCCD4"/>
                    </a:solidFill>
                    <a:ln w="342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07" name="Freihandform: Form 206">
                  <a:extLst>
                    <a:ext uri="{FF2B5EF4-FFF2-40B4-BE49-F238E27FC236}">
                      <a16:creationId xmlns:a16="http://schemas.microsoft.com/office/drawing/2014/main" id="{8BA80FDB-85C2-4E27-946F-94FDDC6086EA}"/>
                    </a:ext>
                  </a:extLst>
                </p:cNvPr>
                <p:cNvSpPr/>
                <p:nvPr/>
              </p:nvSpPr>
              <p:spPr>
                <a:xfrm>
                  <a:off x="4978650" y="4645171"/>
                  <a:ext cx="72617" cy="45773"/>
                </a:xfrm>
                <a:custGeom>
                  <a:avLst/>
                  <a:gdLst>
                    <a:gd name="connsiteX0" fmla="*/ 36481 w 72617"/>
                    <a:gd name="connsiteY0" fmla="*/ 0 h 45773"/>
                    <a:gd name="connsiteX1" fmla="*/ 0 w 72617"/>
                    <a:gd name="connsiteY1" fmla="*/ 1032 h 45773"/>
                    <a:gd name="connsiteX2" fmla="*/ 22715 w 72617"/>
                    <a:gd name="connsiteY2" fmla="*/ 45773 h 45773"/>
                    <a:gd name="connsiteX3" fmla="*/ 36481 w 72617"/>
                    <a:gd name="connsiteY3" fmla="*/ 45773 h 45773"/>
                    <a:gd name="connsiteX4" fmla="*/ 50247 w 72617"/>
                    <a:gd name="connsiteY4" fmla="*/ 45773 h 45773"/>
                    <a:gd name="connsiteX5" fmla="*/ 72618 w 72617"/>
                    <a:gd name="connsiteY5" fmla="*/ 1032 h 457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2617" h="45773">
                      <a:moveTo>
                        <a:pt x="36481" y="0"/>
                      </a:moveTo>
                      <a:lnTo>
                        <a:pt x="0" y="1032"/>
                      </a:lnTo>
                      <a:lnTo>
                        <a:pt x="22715" y="45773"/>
                      </a:lnTo>
                      <a:lnTo>
                        <a:pt x="36481" y="45773"/>
                      </a:lnTo>
                      <a:lnTo>
                        <a:pt x="50247" y="45773"/>
                      </a:lnTo>
                      <a:lnTo>
                        <a:pt x="72618" y="1032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ihandform: Form 207">
                  <a:extLst>
                    <a:ext uri="{FF2B5EF4-FFF2-40B4-BE49-F238E27FC236}">
                      <a16:creationId xmlns:a16="http://schemas.microsoft.com/office/drawing/2014/main" id="{DDD56CF9-451D-4384-AA4E-F2CA3772A582}"/>
                    </a:ext>
                  </a:extLst>
                </p:cNvPr>
                <p:cNvSpPr/>
                <p:nvPr/>
              </p:nvSpPr>
              <p:spPr>
                <a:xfrm>
                  <a:off x="5008248" y="4579781"/>
                  <a:ext cx="86102" cy="111163"/>
                </a:xfrm>
                <a:custGeom>
                  <a:avLst/>
                  <a:gdLst>
                    <a:gd name="connsiteX0" fmla="*/ 65735 w 86102"/>
                    <a:gd name="connsiteY0" fmla="*/ 111164 h 111163"/>
                    <a:gd name="connsiteX1" fmla="*/ 86040 w 86102"/>
                    <a:gd name="connsiteY1" fmla="*/ 35104 h 111163"/>
                    <a:gd name="connsiteX2" fmla="*/ 72274 w 86102"/>
                    <a:gd name="connsiteY2" fmla="*/ 0 h 111163"/>
                    <a:gd name="connsiteX3" fmla="*/ 40611 w 86102"/>
                    <a:gd name="connsiteY3" fmla="*/ 36481 h 111163"/>
                    <a:gd name="connsiteX4" fmla="*/ 0 w 86102"/>
                    <a:gd name="connsiteY4" fmla="*/ 68832 h 111163"/>
                    <a:gd name="connsiteX5" fmla="*/ 34072 w 86102"/>
                    <a:gd name="connsiteY5" fmla="*/ 80533 h 111163"/>
                    <a:gd name="connsiteX6" fmla="*/ 65735 w 86102"/>
                    <a:gd name="connsiteY6" fmla="*/ 111164 h 111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102" h="111163">
                      <a:moveTo>
                        <a:pt x="65735" y="111164"/>
                      </a:moveTo>
                      <a:cubicBezTo>
                        <a:pt x="65735" y="111164"/>
                        <a:pt x="87417" y="45429"/>
                        <a:pt x="86040" y="35104"/>
                      </a:cubicBezTo>
                      <a:cubicBezTo>
                        <a:pt x="84663" y="24780"/>
                        <a:pt x="72274" y="0"/>
                        <a:pt x="72274" y="0"/>
                      </a:cubicBezTo>
                      <a:cubicBezTo>
                        <a:pt x="72274" y="0"/>
                        <a:pt x="70897" y="15831"/>
                        <a:pt x="40611" y="36481"/>
                      </a:cubicBezTo>
                      <a:cubicBezTo>
                        <a:pt x="10325" y="57131"/>
                        <a:pt x="0" y="68832"/>
                        <a:pt x="0" y="68832"/>
                      </a:cubicBezTo>
                      <a:cubicBezTo>
                        <a:pt x="0" y="68832"/>
                        <a:pt x="15487" y="67800"/>
                        <a:pt x="34072" y="80533"/>
                      </a:cubicBezTo>
                      <a:lnTo>
                        <a:pt x="65735" y="111164"/>
                      </a:lnTo>
                      <a:close/>
                    </a:path>
                  </a:pathLst>
                </a:custGeom>
                <a:solidFill>
                  <a:srgbClr val="EBF0F5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ihandform: Form 208">
                  <a:extLst>
                    <a:ext uri="{FF2B5EF4-FFF2-40B4-BE49-F238E27FC236}">
                      <a16:creationId xmlns:a16="http://schemas.microsoft.com/office/drawing/2014/main" id="{04E8A1BE-AF29-4355-B468-A3934608C637}"/>
                    </a:ext>
                  </a:extLst>
                </p:cNvPr>
                <p:cNvSpPr/>
                <p:nvPr/>
              </p:nvSpPr>
              <p:spPr>
                <a:xfrm>
                  <a:off x="4927307" y="4581501"/>
                  <a:ext cx="86102" cy="109787"/>
                </a:xfrm>
                <a:custGeom>
                  <a:avLst/>
                  <a:gdLst>
                    <a:gd name="connsiteX0" fmla="*/ 86103 w 86102"/>
                    <a:gd name="connsiteY0" fmla="*/ 67111 h 109787"/>
                    <a:gd name="connsiteX1" fmla="*/ 52031 w 86102"/>
                    <a:gd name="connsiteY1" fmla="*/ 78813 h 109787"/>
                    <a:gd name="connsiteX2" fmla="*/ 20368 w 86102"/>
                    <a:gd name="connsiteY2" fmla="*/ 109787 h 109787"/>
                    <a:gd name="connsiteX3" fmla="*/ 63 w 86102"/>
                    <a:gd name="connsiteY3" fmla="*/ 33728 h 109787"/>
                    <a:gd name="connsiteX4" fmla="*/ 14173 w 86102"/>
                    <a:gd name="connsiteY4" fmla="*/ 0 h 109787"/>
                    <a:gd name="connsiteX5" fmla="*/ 45492 w 86102"/>
                    <a:gd name="connsiteY5" fmla="*/ 34760 h 109787"/>
                    <a:gd name="connsiteX6" fmla="*/ 86103 w 86102"/>
                    <a:gd name="connsiteY6" fmla="*/ 67111 h 109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6102" h="109787">
                      <a:moveTo>
                        <a:pt x="86103" y="67111"/>
                      </a:moveTo>
                      <a:cubicBezTo>
                        <a:pt x="86103" y="67111"/>
                        <a:pt x="69583" y="64702"/>
                        <a:pt x="52031" y="78813"/>
                      </a:cubicBezTo>
                      <a:cubicBezTo>
                        <a:pt x="34479" y="92923"/>
                        <a:pt x="20368" y="109787"/>
                        <a:pt x="20368" y="109787"/>
                      </a:cubicBezTo>
                      <a:cubicBezTo>
                        <a:pt x="20368" y="109787"/>
                        <a:pt x="-1314" y="44052"/>
                        <a:pt x="63" y="33728"/>
                      </a:cubicBezTo>
                      <a:cubicBezTo>
                        <a:pt x="1440" y="23403"/>
                        <a:pt x="14173" y="0"/>
                        <a:pt x="14173" y="0"/>
                      </a:cubicBezTo>
                      <a:cubicBezTo>
                        <a:pt x="14173" y="0"/>
                        <a:pt x="15206" y="14455"/>
                        <a:pt x="45492" y="34760"/>
                      </a:cubicBezTo>
                      <a:cubicBezTo>
                        <a:pt x="76122" y="55410"/>
                        <a:pt x="86103" y="67111"/>
                        <a:pt x="86103" y="67111"/>
                      </a:cubicBezTo>
                      <a:close/>
                    </a:path>
                  </a:pathLst>
                </a:custGeom>
                <a:solidFill>
                  <a:srgbClr val="EBF0F5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ihandform: Form 209">
                  <a:extLst>
                    <a:ext uri="{FF2B5EF4-FFF2-40B4-BE49-F238E27FC236}">
                      <a16:creationId xmlns:a16="http://schemas.microsoft.com/office/drawing/2014/main" id="{9786C865-0E4E-44B6-AE1D-088DC9E884BD}"/>
                    </a:ext>
                  </a:extLst>
                </p:cNvPr>
                <p:cNvSpPr/>
                <p:nvPr/>
              </p:nvSpPr>
              <p:spPr>
                <a:xfrm>
                  <a:off x="4749095" y="4581501"/>
                  <a:ext cx="221983" cy="237814"/>
                </a:xfrm>
                <a:custGeom>
                  <a:avLst/>
                  <a:gdLst>
                    <a:gd name="connsiteX0" fmla="*/ 221983 w 221983"/>
                    <a:gd name="connsiteY0" fmla="*/ 237815 h 237814"/>
                    <a:gd name="connsiteX1" fmla="*/ 219230 w 221983"/>
                    <a:gd name="connsiteY1" fmla="*/ 237470 h 237814"/>
                    <a:gd name="connsiteX2" fmla="*/ 216132 w 221983"/>
                    <a:gd name="connsiteY2" fmla="*/ 237126 h 237814"/>
                    <a:gd name="connsiteX3" fmla="*/ 214412 w 221983"/>
                    <a:gd name="connsiteY3" fmla="*/ 236782 h 237814"/>
                    <a:gd name="connsiteX4" fmla="*/ 183781 w 221983"/>
                    <a:gd name="connsiteY4" fmla="*/ 230587 h 237814"/>
                    <a:gd name="connsiteX5" fmla="*/ 180684 w 221983"/>
                    <a:gd name="connsiteY5" fmla="*/ 229899 h 237814"/>
                    <a:gd name="connsiteX6" fmla="*/ 176210 w 221983"/>
                    <a:gd name="connsiteY6" fmla="*/ 228522 h 237814"/>
                    <a:gd name="connsiteX7" fmla="*/ 146956 w 221983"/>
                    <a:gd name="connsiteY7" fmla="*/ 218886 h 237814"/>
                    <a:gd name="connsiteX8" fmla="*/ 142826 w 221983"/>
                    <a:gd name="connsiteY8" fmla="*/ 217165 h 237814"/>
                    <a:gd name="connsiteX9" fmla="*/ 140761 w 221983"/>
                    <a:gd name="connsiteY9" fmla="*/ 216132 h 237814"/>
                    <a:gd name="connsiteX10" fmla="*/ 136632 w 221983"/>
                    <a:gd name="connsiteY10" fmla="*/ 214412 h 237814"/>
                    <a:gd name="connsiteX11" fmla="*/ 87417 w 221983"/>
                    <a:gd name="connsiteY11" fmla="*/ 188944 h 237814"/>
                    <a:gd name="connsiteX12" fmla="*/ 85352 w 221983"/>
                    <a:gd name="connsiteY12" fmla="*/ 187567 h 237814"/>
                    <a:gd name="connsiteX13" fmla="*/ 32695 w 221983"/>
                    <a:gd name="connsiteY13" fmla="*/ 146612 h 237814"/>
                    <a:gd name="connsiteX14" fmla="*/ 29598 w 221983"/>
                    <a:gd name="connsiteY14" fmla="*/ 143515 h 237814"/>
                    <a:gd name="connsiteX15" fmla="*/ 21682 w 221983"/>
                    <a:gd name="connsiteY15" fmla="*/ 135599 h 237814"/>
                    <a:gd name="connsiteX16" fmla="*/ 3097 w 221983"/>
                    <a:gd name="connsiteY16" fmla="*/ 114949 h 237814"/>
                    <a:gd name="connsiteX17" fmla="*/ 344 w 221983"/>
                    <a:gd name="connsiteY17" fmla="*/ 111508 h 237814"/>
                    <a:gd name="connsiteX18" fmla="*/ 0 w 221983"/>
                    <a:gd name="connsiteY18" fmla="*/ 111164 h 237814"/>
                    <a:gd name="connsiteX19" fmla="*/ 24780 w 221983"/>
                    <a:gd name="connsiteY19" fmla="*/ 81566 h 237814"/>
                    <a:gd name="connsiteX20" fmla="*/ 134567 w 221983"/>
                    <a:gd name="connsiteY20" fmla="*/ 46806 h 237814"/>
                    <a:gd name="connsiteX21" fmla="*/ 135943 w 221983"/>
                    <a:gd name="connsiteY21" fmla="*/ 42332 h 237814"/>
                    <a:gd name="connsiteX22" fmla="*/ 192385 w 221983"/>
                    <a:gd name="connsiteY22" fmla="*/ 0 h 237814"/>
                    <a:gd name="connsiteX23" fmla="*/ 192385 w 221983"/>
                    <a:gd name="connsiteY23" fmla="*/ 0 h 237814"/>
                    <a:gd name="connsiteX24" fmla="*/ 192385 w 221983"/>
                    <a:gd name="connsiteY24" fmla="*/ 344 h 237814"/>
                    <a:gd name="connsiteX25" fmla="*/ 187223 w 221983"/>
                    <a:gd name="connsiteY25" fmla="*/ 61949 h 237814"/>
                    <a:gd name="connsiteX26" fmla="*/ 188256 w 221983"/>
                    <a:gd name="connsiteY26" fmla="*/ 66767 h 237814"/>
                    <a:gd name="connsiteX27" fmla="*/ 194795 w 221983"/>
                    <a:gd name="connsiteY27" fmla="*/ 99118 h 237814"/>
                    <a:gd name="connsiteX28" fmla="*/ 221983 w 221983"/>
                    <a:gd name="connsiteY28" fmla="*/ 237815 h 23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221983" h="237814">
                      <a:moveTo>
                        <a:pt x="221983" y="237815"/>
                      </a:moveTo>
                      <a:cubicBezTo>
                        <a:pt x="220951" y="237815"/>
                        <a:pt x="220262" y="237470"/>
                        <a:pt x="219230" y="237470"/>
                      </a:cubicBezTo>
                      <a:cubicBezTo>
                        <a:pt x="218197" y="237470"/>
                        <a:pt x="217165" y="237126"/>
                        <a:pt x="216132" y="237126"/>
                      </a:cubicBezTo>
                      <a:cubicBezTo>
                        <a:pt x="215788" y="237126"/>
                        <a:pt x="215100" y="237126"/>
                        <a:pt x="214412" y="236782"/>
                      </a:cubicBezTo>
                      <a:cubicBezTo>
                        <a:pt x="204087" y="235061"/>
                        <a:pt x="193762" y="232996"/>
                        <a:pt x="183781" y="230587"/>
                      </a:cubicBezTo>
                      <a:cubicBezTo>
                        <a:pt x="182749" y="230243"/>
                        <a:pt x="181716" y="229899"/>
                        <a:pt x="180684" y="229899"/>
                      </a:cubicBezTo>
                      <a:cubicBezTo>
                        <a:pt x="179307" y="229555"/>
                        <a:pt x="177931" y="229211"/>
                        <a:pt x="176210" y="228522"/>
                      </a:cubicBezTo>
                      <a:cubicBezTo>
                        <a:pt x="166229" y="225769"/>
                        <a:pt x="156593" y="222327"/>
                        <a:pt x="146956" y="218886"/>
                      </a:cubicBezTo>
                      <a:cubicBezTo>
                        <a:pt x="145580" y="218197"/>
                        <a:pt x="144203" y="217853"/>
                        <a:pt x="142826" y="217165"/>
                      </a:cubicBezTo>
                      <a:cubicBezTo>
                        <a:pt x="142138" y="216821"/>
                        <a:pt x="141450" y="216477"/>
                        <a:pt x="140761" y="216132"/>
                      </a:cubicBezTo>
                      <a:cubicBezTo>
                        <a:pt x="139385" y="215444"/>
                        <a:pt x="138008" y="215100"/>
                        <a:pt x="136632" y="214412"/>
                      </a:cubicBezTo>
                      <a:cubicBezTo>
                        <a:pt x="119424" y="207184"/>
                        <a:pt x="103248" y="198580"/>
                        <a:pt x="87417" y="188944"/>
                      </a:cubicBezTo>
                      <a:cubicBezTo>
                        <a:pt x="86728" y="188600"/>
                        <a:pt x="86040" y="187911"/>
                        <a:pt x="85352" y="187567"/>
                      </a:cubicBezTo>
                      <a:cubicBezTo>
                        <a:pt x="66423" y="175866"/>
                        <a:pt x="48871" y="162099"/>
                        <a:pt x="32695" y="146612"/>
                      </a:cubicBezTo>
                      <a:cubicBezTo>
                        <a:pt x="31663" y="145580"/>
                        <a:pt x="30630" y="144547"/>
                        <a:pt x="29598" y="143515"/>
                      </a:cubicBezTo>
                      <a:cubicBezTo>
                        <a:pt x="26844" y="140761"/>
                        <a:pt x="24435" y="138352"/>
                        <a:pt x="21682" y="135599"/>
                      </a:cubicBezTo>
                      <a:cubicBezTo>
                        <a:pt x="15143" y="129060"/>
                        <a:pt x="8948" y="122177"/>
                        <a:pt x="3097" y="114949"/>
                      </a:cubicBezTo>
                      <a:cubicBezTo>
                        <a:pt x="2065" y="113917"/>
                        <a:pt x="1377" y="112884"/>
                        <a:pt x="344" y="111508"/>
                      </a:cubicBezTo>
                      <a:cubicBezTo>
                        <a:pt x="344" y="111508"/>
                        <a:pt x="0" y="111164"/>
                        <a:pt x="0" y="111164"/>
                      </a:cubicBezTo>
                      <a:cubicBezTo>
                        <a:pt x="10669" y="93612"/>
                        <a:pt x="20650" y="83631"/>
                        <a:pt x="24780" y="81566"/>
                      </a:cubicBezTo>
                      <a:cubicBezTo>
                        <a:pt x="36481" y="76059"/>
                        <a:pt x="130437" y="47150"/>
                        <a:pt x="134567" y="46806"/>
                      </a:cubicBezTo>
                      <a:lnTo>
                        <a:pt x="135943" y="42332"/>
                      </a:lnTo>
                      <a:lnTo>
                        <a:pt x="192385" y="0"/>
                      </a:lnTo>
                      <a:cubicBezTo>
                        <a:pt x="192385" y="0"/>
                        <a:pt x="192385" y="0"/>
                        <a:pt x="192385" y="0"/>
                      </a:cubicBezTo>
                      <a:cubicBezTo>
                        <a:pt x="192385" y="0"/>
                        <a:pt x="192385" y="0"/>
                        <a:pt x="192385" y="344"/>
                      </a:cubicBezTo>
                      <a:cubicBezTo>
                        <a:pt x="191353" y="3786"/>
                        <a:pt x="181028" y="40267"/>
                        <a:pt x="187223" y="61949"/>
                      </a:cubicBezTo>
                      <a:cubicBezTo>
                        <a:pt x="187567" y="62981"/>
                        <a:pt x="187911" y="64702"/>
                        <a:pt x="188256" y="66767"/>
                      </a:cubicBezTo>
                      <a:cubicBezTo>
                        <a:pt x="189632" y="72962"/>
                        <a:pt x="192041" y="84319"/>
                        <a:pt x="194795" y="99118"/>
                      </a:cubicBezTo>
                      <a:cubicBezTo>
                        <a:pt x="201678" y="132157"/>
                        <a:pt x="211658" y="183781"/>
                        <a:pt x="221983" y="237815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ihandform: Form 210">
                  <a:extLst>
                    <a:ext uri="{FF2B5EF4-FFF2-40B4-BE49-F238E27FC236}">
                      <a16:creationId xmlns:a16="http://schemas.microsoft.com/office/drawing/2014/main" id="{A43D7595-DAB4-49D3-BAFD-97776ECDECD8}"/>
                    </a:ext>
                  </a:extLst>
                </p:cNvPr>
                <p:cNvSpPr/>
                <p:nvPr/>
              </p:nvSpPr>
              <p:spPr>
                <a:xfrm>
                  <a:off x="5050924" y="4580469"/>
                  <a:ext cx="231963" cy="241256"/>
                </a:xfrm>
                <a:custGeom>
                  <a:avLst/>
                  <a:gdLst>
                    <a:gd name="connsiteX0" fmla="*/ 231964 w 231963"/>
                    <a:gd name="connsiteY0" fmla="*/ 118391 h 241256"/>
                    <a:gd name="connsiteX1" fmla="*/ 228866 w 231963"/>
                    <a:gd name="connsiteY1" fmla="*/ 121833 h 241256"/>
                    <a:gd name="connsiteX2" fmla="*/ 225081 w 231963"/>
                    <a:gd name="connsiteY2" fmla="*/ 126307 h 241256"/>
                    <a:gd name="connsiteX3" fmla="*/ 215788 w 231963"/>
                    <a:gd name="connsiteY3" fmla="*/ 136632 h 241256"/>
                    <a:gd name="connsiteX4" fmla="*/ 209938 w 231963"/>
                    <a:gd name="connsiteY4" fmla="*/ 142482 h 241256"/>
                    <a:gd name="connsiteX5" fmla="*/ 202022 w 231963"/>
                    <a:gd name="connsiteY5" fmla="*/ 150054 h 241256"/>
                    <a:gd name="connsiteX6" fmla="*/ 151086 w 231963"/>
                    <a:gd name="connsiteY6" fmla="*/ 189288 h 241256"/>
                    <a:gd name="connsiteX7" fmla="*/ 144547 w 231963"/>
                    <a:gd name="connsiteY7" fmla="*/ 193418 h 241256"/>
                    <a:gd name="connsiteX8" fmla="*/ 73306 w 231963"/>
                    <a:gd name="connsiteY8" fmla="*/ 225769 h 241256"/>
                    <a:gd name="connsiteX9" fmla="*/ 69176 w 231963"/>
                    <a:gd name="connsiteY9" fmla="*/ 227146 h 241256"/>
                    <a:gd name="connsiteX10" fmla="*/ 67455 w 231963"/>
                    <a:gd name="connsiteY10" fmla="*/ 227834 h 241256"/>
                    <a:gd name="connsiteX11" fmla="*/ 63325 w 231963"/>
                    <a:gd name="connsiteY11" fmla="*/ 229211 h 241256"/>
                    <a:gd name="connsiteX12" fmla="*/ 48527 w 231963"/>
                    <a:gd name="connsiteY12" fmla="*/ 233340 h 241256"/>
                    <a:gd name="connsiteX13" fmla="*/ 6883 w 231963"/>
                    <a:gd name="connsiteY13" fmla="*/ 240568 h 241256"/>
                    <a:gd name="connsiteX14" fmla="*/ 5851 w 231963"/>
                    <a:gd name="connsiteY14" fmla="*/ 240568 h 241256"/>
                    <a:gd name="connsiteX15" fmla="*/ 2065 w 231963"/>
                    <a:gd name="connsiteY15" fmla="*/ 240912 h 241256"/>
                    <a:gd name="connsiteX16" fmla="*/ 0 w 231963"/>
                    <a:gd name="connsiteY16" fmla="*/ 241256 h 241256"/>
                    <a:gd name="connsiteX17" fmla="*/ 22026 w 231963"/>
                    <a:gd name="connsiteY17" fmla="*/ 110475 h 241256"/>
                    <a:gd name="connsiteX18" fmla="*/ 22026 w 231963"/>
                    <a:gd name="connsiteY18" fmla="*/ 110475 h 241256"/>
                    <a:gd name="connsiteX19" fmla="*/ 29942 w 231963"/>
                    <a:gd name="connsiteY19" fmla="*/ 68144 h 241256"/>
                    <a:gd name="connsiteX20" fmla="*/ 30974 w 231963"/>
                    <a:gd name="connsiteY20" fmla="*/ 63325 h 241256"/>
                    <a:gd name="connsiteX21" fmla="*/ 28909 w 231963"/>
                    <a:gd name="connsiteY21" fmla="*/ 0 h 241256"/>
                    <a:gd name="connsiteX22" fmla="*/ 28909 w 231963"/>
                    <a:gd name="connsiteY22" fmla="*/ 0 h 241256"/>
                    <a:gd name="connsiteX23" fmla="*/ 80533 w 231963"/>
                    <a:gd name="connsiteY23" fmla="*/ 42332 h 241256"/>
                    <a:gd name="connsiteX24" fmla="*/ 214068 w 231963"/>
                    <a:gd name="connsiteY24" fmla="*/ 100151 h 241256"/>
                    <a:gd name="connsiteX25" fmla="*/ 231964 w 231963"/>
                    <a:gd name="connsiteY25" fmla="*/ 118391 h 2412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31963" h="241256">
                      <a:moveTo>
                        <a:pt x="231964" y="118391"/>
                      </a:moveTo>
                      <a:cubicBezTo>
                        <a:pt x="230931" y="119424"/>
                        <a:pt x="229899" y="120800"/>
                        <a:pt x="228866" y="121833"/>
                      </a:cubicBezTo>
                      <a:cubicBezTo>
                        <a:pt x="227490" y="123209"/>
                        <a:pt x="226113" y="124930"/>
                        <a:pt x="225081" y="126307"/>
                      </a:cubicBezTo>
                      <a:cubicBezTo>
                        <a:pt x="221983" y="129748"/>
                        <a:pt x="218886" y="133190"/>
                        <a:pt x="215788" y="136632"/>
                      </a:cubicBezTo>
                      <a:cubicBezTo>
                        <a:pt x="213723" y="138696"/>
                        <a:pt x="212003" y="140761"/>
                        <a:pt x="209938" y="142482"/>
                      </a:cubicBezTo>
                      <a:cubicBezTo>
                        <a:pt x="207528" y="145236"/>
                        <a:pt x="204775" y="147645"/>
                        <a:pt x="202022" y="150054"/>
                      </a:cubicBezTo>
                      <a:cubicBezTo>
                        <a:pt x="186191" y="164853"/>
                        <a:pt x="169327" y="177931"/>
                        <a:pt x="151086" y="189288"/>
                      </a:cubicBezTo>
                      <a:cubicBezTo>
                        <a:pt x="149021" y="190665"/>
                        <a:pt x="146956" y="192041"/>
                        <a:pt x="144547" y="193418"/>
                      </a:cubicBezTo>
                      <a:cubicBezTo>
                        <a:pt x="122177" y="206840"/>
                        <a:pt x="98430" y="217853"/>
                        <a:pt x="73306" y="225769"/>
                      </a:cubicBezTo>
                      <a:cubicBezTo>
                        <a:pt x="71929" y="226113"/>
                        <a:pt x="70553" y="226801"/>
                        <a:pt x="69176" y="227146"/>
                      </a:cubicBezTo>
                      <a:cubicBezTo>
                        <a:pt x="68488" y="227146"/>
                        <a:pt x="67800" y="227490"/>
                        <a:pt x="67455" y="227834"/>
                      </a:cubicBezTo>
                      <a:cubicBezTo>
                        <a:pt x="66079" y="228178"/>
                        <a:pt x="64702" y="228866"/>
                        <a:pt x="63325" y="229211"/>
                      </a:cubicBezTo>
                      <a:cubicBezTo>
                        <a:pt x="58507" y="230587"/>
                        <a:pt x="53345" y="231964"/>
                        <a:pt x="48527" y="233340"/>
                      </a:cubicBezTo>
                      <a:cubicBezTo>
                        <a:pt x="35104" y="236438"/>
                        <a:pt x="20994" y="239191"/>
                        <a:pt x="6883" y="240568"/>
                      </a:cubicBezTo>
                      <a:cubicBezTo>
                        <a:pt x="6539" y="240568"/>
                        <a:pt x="6195" y="240568"/>
                        <a:pt x="5851" y="240568"/>
                      </a:cubicBezTo>
                      <a:cubicBezTo>
                        <a:pt x="4474" y="240568"/>
                        <a:pt x="3097" y="240912"/>
                        <a:pt x="2065" y="240912"/>
                      </a:cubicBezTo>
                      <a:cubicBezTo>
                        <a:pt x="1377" y="240912"/>
                        <a:pt x="688" y="240912"/>
                        <a:pt x="0" y="241256"/>
                      </a:cubicBezTo>
                      <a:cubicBezTo>
                        <a:pt x="8260" y="191353"/>
                        <a:pt x="16176" y="143859"/>
                        <a:pt x="22026" y="110475"/>
                      </a:cubicBezTo>
                      <a:lnTo>
                        <a:pt x="22026" y="110475"/>
                      </a:lnTo>
                      <a:cubicBezTo>
                        <a:pt x="25468" y="90858"/>
                        <a:pt x="28221" y="75715"/>
                        <a:pt x="29942" y="68144"/>
                      </a:cubicBezTo>
                      <a:cubicBezTo>
                        <a:pt x="30286" y="65735"/>
                        <a:pt x="30974" y="64358"/>
                        <a:pt x="30974" y="63325"/>
                      </a:cubicBezTo>
                      <a:cubicBezTo>
                        <a:pt x="37513" y="40955"/>
                        <a:pt x="29254" y="1377"/>
                        <a:pt x="28909" y="0"/>
                      </a:cubicBezTo>
                      <a:cubicBezTo>
                        <a:pt x="28909" y="0"/>
                        <a:pt x="28909" y="0"/>
                        <a:pt x="28909" y="0"/>
                      </a:cubicBezTo>
                      <a:lnTo>
                        <a:pt x="80533" y="42332"/>
                      </a:lnTo>
                      <a:lnTo>
                        <a:pt x="214068" y="100151"/>
                      </a:lnTo>
                      <a:cubicBezTo>
                        <a:pt x="217853" y="101527"/>
                        <a:pt x="224392" y="107722"/>
                        <a:pt x="231964" y="118391"/>
                      </a:cubicBezTo>
                      <a:close/>
                    </a:path>
                  </a:pathLst>
                </a:custGeom>
                <a:solidFill>
                  <a:srgbClr val="009999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ihandform: Form 211">
                  <a:extLst>
                    <a:ext uri="{FF2B5EF4-FFF2-40B4-BE49-F238E27FC236}">
                      <a16:creationId xmlns:a16="http://schemas.microsoft.com/office/drawing/2014/main" id="{8D408B24-7AA7-4B99-8500-7B340B2AE11B}"/>
                    </a:ext>
                  </a:extLst>
                </p:cNvPr>
                <p:cNvSpPr/>
                <p:nvPr/>
              </p:nvSpPr>
              <p:spPr>
                <a:xfrm>
                  <a:off x="4856817" y="4641729"/>
                  <a:ext cx="39234" cy="158657"/>
                </a:xfrm>
                <a:custGeom>
                  <a:avLst/>
                  <a:gdLst>
                    <a:gd name="connsiteX0" fmla="*/ 39234 w 39234"/>
                    <a:gd name="connsiteY0" fmla="*/ 158658 h 158657"/>
                    <a:gd name="connsiteX1" fmla="*/ 35104 w 39234"/>
                    <a:gd name="connsiteY1" fmla="*/ 156937 h 158657"/>
                    <a:gd name="connsiteX2" fmla="*/ 344 w 39234"/>
                    <a:gd name="connsiteY2" fmla="*/ 41643 h 158657"/>
                    <a:gd name="connsiteX3" fmla="*/ 0 w 39234"/>
                    <a:gd name="connsiteY3" fmla="*/ 40267 h 158657"/>
                    <a:gd name="connsiteX4" fmla="*/ 28221 w 39234"/>
                    <a:gd name="connsiteY4" fmla="*/ 27533 h 158657"/>
                    <a:gd name="connsiteX5" fmla="*/ 15143 w 39234"/>
                    <a:gd name="connsiteY5" fmla="*/ 18929 h 158657"/>
                    <a:gd name="connsiteX6" fmla="*/ 21338 w 39234"/>
                    <a:gd name="connsiteY6" fmla="*/ 0 h 158657"/>
                    <a:gd name="connsiteX7" fmla="*/ 24780 w 39234"/>
                    <a:gd name="connsiteY7" fmla="*/ 1032 h 158657"/>
                    <a:gd name="connsiteX8" fmla="*/ 19617 w 39234"/>
                    <a:gd name="connsiteY8" fmla="*/ 17552 h 158657"/>
                    <a:gd name="connsiteX9" fmla="*/ 35448 w 39234"/>
                    <a:gd name="connsiteY9" fmla="*/ 28221 h 158657"/>
                    <a:gd name="connsiteX10" fmla="*/ 4130 w 39234"/>
                    <a:gd name="connsiteY10" fmla="*/ 42332 h 158657"/>
                    <a:gd name="connsiteX11" fmla="*/ 39234 w 39234"/>
                    <a:gd name="connsiteY11" fmla="*/ 158658 h 158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9234" h="158657">
                      <a:moveTo>
                        <a:pt x="39234" y="158658"/>
                      </a:moveTo>
                      <a:cubicBezTo>
                        <a:pt x="37858" y="157969"/>
                        <a:pt x="36481" y="157625"/>
                        <a:pt x="35104" y="156937"/>
                      </a:cubicBezTo>
                      <a:cubicBezTo>
                        <a:pt x="20305" y="116326"/>
                        <a:pt x="12046" y="85696"/>
                        <a:pt x="344" y="41643"/>
                      </a:cubicBezTo>
                      <a:lnTo>
                        <a:pt x="0" y="40267"/>
                      </a:lnTo>
                      <a:lnTo>
                        <a:pt x="28221" y="27533"/>
                      </a:lnTo>
                      <a:lnTo>
                        <a:pt x="15143" y="18929"/>
                      </a:lnTo>
                      <a:lnTo>
                        <a:pt x="21338" y="0"/>
                      </a:lnTo>
                      <a:lnTo>
                        <a:pt x="24780" y="1032"/>
                      </a:lnTo>
                      <a:lnTo>
                        <a:pt x="19617" y="17552"/>
                      </a:lnTo>
                      <a:lnTo>
                        <a:pt x="35448" y="28221"/>
                      </a:lnTo>
                      <a:lnTo>
                        <a:pt x="4130" y="42332"/>
                      </a:lnTo>
                      <a:cubicBezTo>
                        <a:pt x="15831" y="86384"/>
                        <a:pt x="24091" y="117014"/>
                        <a:pt x="39234" y="158658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ihandform: Form 212">
                  <a:extLst>
                    <a:ext uri="{FF2B5EF4-FFF2-40B4-BE49-F238E27FC236}">
                      <a16:creationId xmlns:a16="http://schemas.microsoft.com/office/drawing/2014/main" id="{CC23FC4F-6921-476A-A251-E4021C190A95}"/>
                    </a:ext>
                  </a:extLst>
                </p:cNvPr>
                <p:cNvSpPr/>
                <p:nvPr/>
              </p:nvSpPr>
              <p:spPr>
                <a:xfrm>
                  <a:off x="5114249" y="4633470"/>
                  <a:ext cx="47838" cy="175865"/>
                </a:xfrm>
                <a:custGeom>
                  <a:avLst/>
                  <a:gdLst>
                    <a:gd name="connsiteX0" fmla="*/ 47838 w 47838"/>
                    <a:gd name="connsiteY0" fmla="*/ 48182 h 175865"/>
                    <a:gd name="connsiteX1" fmla="*/ 47150 w 47838"/>
                    <a:gd name="connsiteY1" fmla="*/ 49903 h 175865"/>
                    <a:gd name="connsiteX2" fmla="*/ 4130 w 47838"/>
                    <a:gd name="connsiteY2" fmla="*/ 174489 h 175865"/>
                    <a:gd name="connsiteX3" fmla="*/ 0 w 47838"/>
                    <a:gd name="connsiteY3" fmla="*/ 175866 h 175865"/>
                    <a:gd name="connsiteX4" fmla="*/ 43364 w 47838"/>
                    <a:gd name="connsiteY4" fmla="*/ 50592 h 175865"/>
                    <a:gd name="connsiteX5" fmla="*/ 7227 w 47838"/>
                    <a:gd name="connsiteY5" fmla="*/ 37169 h 175865"/>
                    <a:gd name="connsiteX6" fmla="*/ 28565 w 47838"/>
                    <a:gd name="connsiteY6" fmla="*/ 25812 h 175865"/>
                    <a:gd name="connsiteX7" fmla="*/ 22715 w 47838"/>
                    <a:gd name="connsiteY7" fmla="*/ 688 h 175865"/>
                    <a:gd name="connsiteX8" fmla="*/ 26156 w 47838"/>
                    <a:gd name="connsiteY8" fmla="*/ 0 h 175865"/>
                    <a:gd name="connsiteX9" fmla="*/ 32351 w 47838"/>
                    <a:gd name="connsiteY9" fmla="*/ 27533 h 175865"/>
                    <a:gd name="connsiteX10" fmla="*/ 15487 w 47838"/>
                    <a:gd name="connsiteY10" fmla="*/ 36825 h 175865"/>
                    <a:gd name="connsiteX11" fmla="*/ 47838 w 47838"/>
                    <a:gd name="connsiteY11" fmla="*/ 48182 h 175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7838" h="175865">
                      <a:moveTo>
                        <a:pt x="47838" y="48182"/>
                      </a:moveTo>
                      <a:lnTo>
                        <a:pt x="47150" y="49903"/>
                      </a:lnTo>
                      <a:cubicBezTo>
                        <a:pt x="32351" y="96021"/>
                        <a:pt x="19961" y="132157"/>
                        <a:pt x="4130" y="174489"/>
                      </a:cubicBezTo>
                      <a:cubicBezTo>
                        <a:pt x="2753" y="174833"/>
                        <a:pt x="1377" y="175522"/>
                        <a:pt x="0" y="175866"/>
                      </a:cubicBezTo>
                      <a:cubicBezTo>
                        <a:pt x="15831" y="132846"/>
                        <a:pt x="28221" y="96709"/>
                        <a:pt x="43364" y="50592"/>
                      </a:cubicBezTo>
                      <a:lnTo>
                        <a:pt x="7227" y="37169"/>
                      </a:lnTo>
                      <a:lnTo>
                        <a:pt x="28565" y="25812"/>
                      </a:lnTo>
                      <a:lnTo>
                        <a:pt x="22715" y="688"/>
                      </a:lnTo>
                      <a:lnTo>
                        <a:pt x="26156" y="0"/>
                      </a:lnTo>
                      <a:lnTo>
                        <a:pt x="32351" y="27533"/>
                      </a:lnTo>
                      <a:lnTo>
                        <a:pt x="15487" y="36825"/>
                      </a:lnTo>
                      <a:lnTo>
                        <a:pt x="47838" y="48182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42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8FCCB865-A6A4-4CBF-9A8B-7D53D483D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3596" y="3953440"/>
              <a:ext cx="1049954" cy="1049955"/>
            </a:xfrm>
            <a:prstGeom prst="ellipse">
              <a:avLst/>
            </a:prstGeom>
            <a:noFill/>
            <a:ln w="12700" cap="rnd">
              <a:solidFill>
                <a:srgbClr val="9999A9"/>
              </a:solidFill>
              <a:prstDash val="sysDot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A28AF5F-A28C-4F38-945F-4407DA007782}"/>
              </a:ext>
            </a:extLst>
          </p:cNvPr>
          <p:cNvGrpSpPr/>
          <p:nvPr/>
        </p:nvGrpSpPr>
        <p:grpSpPr>
          <a:xfrm>
            <a:off x="6388444" y="3236032"/>
            <a:ext cx="651194" cy="651519"/>
            <a:chOff x="6388444" y="3295537"/>
            <a:chExt cx="651194" cy="651519"/>
          </a:xfrm>
        </p:grpSpPr>
        <p:sp>
          <p:nvSpPr>
            <p:cNvPr id="145" name="Freihandform: Form 144">
              <a:extLst>
                <a:ext uri="{FF2B5EF4-FFF2-40B4-BE49-F238E27FC236}">
                  <a16:creationId xmlns:a16="http://schemas.microsoft.com/office/drawing/2014/main" id="{A97F71EA-89D9-416D-B0F5-64E8108C2CD6}"/>
                </a:ext>
              </a:extLst>
            </p:cNvPr>
            <p:cNvSpPr/>
            <p:nvPr/>
          </p:nvSpPr>
          <p:spPr>
            <a:xfrm>
              <a:off x="6388444" y="3295539"/>
              <a:ext cx="651194" cy="651517"/>
            </a:xfrm>
            <a:custGeom>
              <a:avLst/>
              <a:gdLst>
                <a:gd name="connsiteX0" fmla="*/ 513206 w 513206"/>
                <a:gd name="connsiteY0" fmla="*/ 256602 h 513460"/>
                <a:gd name="connsiteX1" fmla="*/ 451365 w 513206"/>
                <a:gd name="connsiteY1" fmla="*/ 423393 h 513460"/>
                <a:gd name="connsiteX2" fmla="*/ 448542 w 513206"/>
                <a:gd name="connsiteY2" fmla="*/ 426729 h 513460"/>
                <a:gd name="connsiteX3" fmla="*/ 441614 w 513206"/>
                <a:gd name="connsiteY3" fmla="*/ 434427 h 513460"/>
                <a:gd name="connsiteX4" fmla="*/ 437252 w 513206"/>
                <a:gd name="connsiteY4" fmla="*/ 438789 h 513460"/>
                <a:gd name="connsiteX5" fmla="*/ 431350 w 513206"/>
                <a:gd name="connsiteY5" fmla="*/ 444435 h 513460"/>
                <a:gd name="connsiteX6" fmla="*/ 393372 w 513206"/>
                <a:gd name="connsiteY6" fmla="*/ 473687 h 513460"/>
                <a:gd name="connsiteX7" fmla="*/ 388497 w 513206"/>
                <a:gd name="connsiteY7" fmla="*/ 476767 h 513460"/>
                <a:gd name="connsiteX8" fmla="*/ 316905 w 513206"/>
                <a:gd name="connsiteY8" fmla="*/ 506276 h 513460"/>
                <a:gd name="connsiteX9" fmla="*/ 266611 w 513206"/>
                <a:gd name="connsiteY9" fmla="*/ 513204 h 513460"/>
                <a:gd name="connsiteX10" fmla="*/ 256346 w 513206"/>
                <a:gd name="connsiteY10" fmla="*/ 513461 h 513460"/>
                <a:gd name="connsiteX11" fmla="*/ 255063 w 513206"/>
                <a:gd name="connsiteY11" fmla="*/ 513461 h 513460"/>
                <a:gd name="connsiteX12" fmla="*/ 254037 w 513206"/>
                <a:gd name="connsiteY12" fmla="*/ 513461 h 513460"/>
                <a:gd name="connsiteX13" fmla="*/ 241977 w 513206"/>
                <a:gd name="connsiteY13" fmla="*/ 512947 h 513460"/>
                <a:gd name="connsiteX14" fmla="*/ 192452 w 513206"/>
                <a:gd name="connsiteY14" fmla="*/ 505249 h 513460"/>
                <a:gd name="connsiteX15" fmla="*/ 190143 w 513206"/>
                <a:gd name="connsiteY15" fmla="*/ 504736 h 513460"/>
                <a:gd name="connsiteX16" fmla="*/ 186807 w 513206"/>
                <a:gd name="connsiteY16" fmla="*/ 503710 h 513460"/>
                <a:gd name="connsiteX17" fmla="*/ 120347 w 513206"/>
                <a:gd name="connsiteY17" fmla="*/ 474457 h 513460"/>
                <a:gd name="connsiteX18" fmla="*/ 118807 w 513206"/>
                <a:gd name="connsiteY18" fmla="*/ 473431 h 513460"/>
                <a:gd name="connsiteX19" fmla="*/ 80060 w 513206"/>
                <a:gd name="connsiteY19" fmla="*/ 442638 h 513460"/>
                <a:gd name="connsiteX20" fmla="*/ 77751 w 513206"/>
                <a:gd name="connsiteY20" fmla="*/ 440329 h 513460"/>
                <a:gd name="connsiteX21" fmla="*/ 71849 w 513206"/>
                <a:gd name="connsiteY21" fmla="*/ 434427 h 513460"/>
                <a:gd name="connsiteX22" fmla="*/ 57992 w 513206"/>
                <a:gd name="connsiteY22" fmla="*/ 419031 h 513460"/>
                <a:gd name="connsiteX23" fmla="*/ 55939 w 513206"/>
                <a:gd name="connsiteY23" fmla="*/ 416465 h 513460"/>
                <a:gd name="connsiteX24" fmla="*/ 0 w 513206"/>
                <a:gd name="connsiteY24" fmla="*/ 256602 h 513460"/>
                <a:gd name="connsiteX25" fmla="*/ 256603 w 513206"/>
                <a:gd name="connsiteY25" fmla="*/ 0 h 513460"/>
                <a:gd name="connsiteX26" fmla="*/ 513206 w 513206"/>
                <a:gd name="connsiteY26" fmla="*/ 256602 h 513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13206" h="513460">
                  <a:moveTo>
                    <a:pt x="513206" y="256602"/>
                  </a:moveTo>
                  <a:cubicBezTo>
                    <a:pt x="513206" y="320239"/>
                    <a:pt x="489855" y="378745"/>
                    <a:pt x="451365" y="423393"/>
                  </a:cubicBezTo>
                  <a:cubicBezTo>
                    <a:pt x="450338" y="424420"/>
                    <a:pt x="449312" y="425703"/>
                    <a:pt x="448542" y="426729"/>
                  </a:cubicBezTo>
                  <a:cubicBezTo>
                    <a:pt x="446233" y="429295"/>
                    <a:pt x="443923" y="431861"/>
                    <a:pt x="441614" y="434427"/>
                  </a:cubicBezTo>
                  <a:cubicBezTo>
                    <a:pt x="440074" y="435967"/>
                    <a:pt x="438791" y="437506"/>
                    <a:pt x="437252" y="438789"/>
                  </a:cubicBezTo>
                  <a:cubicBezTo>
                    <a:pt x="435455" y="440842"/>
                    <a:pt x="433402" y="442638"/>
                    <a:pt x="431350" y="444435"/>
                  </a:cubicBezTo>
                  <a:cubicBezTo>
                    <a:pt x="419546" y="455469"/>
                    <a:pt x="406972" y="465219"/>
                    <a:pt x="393372" y="473687"/>
                  </a:cubicBezTo>
                  <a:cubicBezTo>
                    <a:pt x="391833" y="474714"/>
                    <a:pt x="390293" y="475740"/>
                    <a:pt x="388497" y="476767"/>
                  </a:cubicBezTo>
                  <a:cubicBezTo>
                    <a:pt x="366429" y="490110"/>
                    <a:pt x="342308" y="500117"/>
                    <a:pt x="316905" y="506276"/>
                  </a:cubicBezTo>
                  <a:cubicBezTo>
                    <a:pt x="300739" y="510125"/>
                    <a:pt x="283803" y="512434"/>
                    <a:pt x="266611" y="513204"/>
                  </a:cubicBezTo>
                  <a:cubicBezTo>
                    <a:pt x="263275" y="513204"/>
                    <a:pt x="259939" y="513461"/>
                    <a:pt x="256346" y="513461"/>
                  </a:cubicBezTo>
                  <a:cubicBezTo>
                    <a:pt x="255833" y="513461"/>
                    <a:pt x="255577" y="513461"/>
                    <a:pt x="255063" y="513461"/>
                  </a:cubicBezTo>
                  <a:cubicBezTo>
                    <a:pt x="254807" y="513461"/>
                    <a:pt x="254294" y="513461"/>
                    <a:pt x="254037" y="513461"/>
                  </a:cubicBezTo>
                  <a:cubicBezTo>
                    <a:pt x="249931" y="513461"/>
                    <a:pt x="245826" y="513204"/>
                    <a:pt x="241977" y="512947"/>
                  </a:cubicBezTo>
                  <a:cubicBezTo>
                    <a:pt x="225041" y="511921"/>
                    <a:pt x="208362" y="509355"/>
                    <a:pt x="192452" y="505249"/>
                  </a:cubicBezTo>
                  <a:cubicBezTo>
                    <a:pt x="191682" y="504993"/>
                    <a:pt x="190913" y="504736"/>
                    <a:pt x="190143" y="504736"/>
                  </a:cubicBezTo>
                  <a:cubicBezTo>
                    <a:pt x="189116" y="504480"/>
                    <a:pt x="188090" y="504223"/>
                    <a:pt x="186807" y="503710"/>
                  </a:cubicBezTo>
                  <a:cubicBezTo>
                    <a:pt x="162943" y="497038"/>
                    <a:pt x="140618" y="487031"/>
                    <a:pt x="120347" y="474457"/>
                  </a:cubicBezTo>
                  <a:cubicBezTo>
                    <a:pt x="119834" y="474201"/>
                    <a:pt x="119320" y="473687"/>
                    <a:pt x="118807" y="473431"/>
                  </a:cubicBezTo>
                  <a:cubicBezTo>
                    <a:pt x="105207" y="464450"/>
                    <a:pt x="91864" y="454186"/>
                    <a:pt x="80060" y="442638"/>
                  </a:cubicBezTo>
                  <a:cubicBezTo>
                    <a:pt x="79290" y="441869"/>
                    <a:pt x="78521" y="441099"/>
                    <a:pt x="77751" y="440329"/>
                  </a:cubicBezTo>
                  <a:cubicBezTo>
                    <a:pt x="75698" y="438276"/>
                    <a:pt x="73902" y="436480"/>
                    <a:pt x="71849" y="434427"/>
                  </a:cubicBezTo>
                  <a:cubicBezTo>
                    <a:pt x="66973" y="429552"/>
                    <a:pt x="62355" y="424420"/>
                    <a:pt x="57992" y="419031"/>
                  </a:cubicBezTo>
                  <a:cubicBezTo>
                    <a:pt x="57222" y="418261"/>
                    <a:pt x="56709" y="417491"/>
                    <a:pt x="55939" y="416465"/>
                  </a:cubicBezTo>
                  <a:cubicBezTo>
                    <a:pt x="20785" y="372586"/>
                    <a:pt x="0" y="317160"/>
                    <a:pt x="0" y="256602"/>
                  </a:cubicBezTo>
                  <a:cubicBezTo>
                    <a:pt x="0" y="114958"/>
                    <a:pt x="114958" y="0"/>
                    <a:pt x="256603" y="0"/>
                  </a:cubicBezTo>
                  <a:cubicBezTo>
                    <a:pt x="398248" y="0"/>
                    <a:pt x="513206" y="114958"/>
                    <a:pt x="513206" y="256602"/>
                  </a:cubicBezTo>
                  <a:close/>
                </a:path>
              </a:pathLst>
            </a:custGeom>
            <a:solidFill>
              <a:srgbClr val="FFFFFF"/>
            </a:solidFill>
            <a:ln w="2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AF96E1A1-597B-4FB4-BDA2-3D7E85DC0A1A}"/>
                </a:ext>
              </a:extLst>
            </p:cNvPr>
            <p:cNvGrpSpPr/>
            <p:nvPr/>
          </p:nvGrpSpPr>
          <p:grpSpPr>
            <a:xfrm>
              <a:off x="6479610" y="3400363"/>
              <a:ext cx="469184" cy="546367"/>
              <a:chOff x="6479610" y="3400363"/>
              <a:chExt cx="469184" cy="546367"/>
            </a:xfrm>
          </p:grpSpPr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36FD3063-A7D6-4225-B509-EB044C7E638F}"/>
                  </a:ext>
                </a:extLst>
              </p:cNvPr>
              <p:cNvSpPr/>
              <p:nvPr/>
            </p:nvSpPr>
            <p:spPr>
              <a:xfrm>
                <a:off x="6565628" y="3400363"/>
                <a:ext cx="336725" cy="314947"/>
              </a:xfrm>
              <a:custGeom>
                <a:avLst/>
                <a:gdLst>
                  <a:gd name="connsiteX0" fmla="*/ 218835 w 265373"/>
                  <a:gd name="connsiteY0" fmla="*/ 94700 h 248209"/>
                  <a:gd name="connsiteX1" fmla="*/ 117477 w 265373"/>
                  <a:gd name="connsiteY1" fmla="*/ 13 h 248209"/>
                  <a:gd name="connsiteX2" fmla="*/ 13296 w 265373"/>
                  <a:gd name="connsiteY2" fmla="*/ 112405 h 248209"/>
                  <a:gd name="connsiteX3" fmla="*/ 23817 w 265373"/>
                  <a:gd name="connsiteY3" fmla="*/ 221461 h 248209"/>
                  <a:gd name="connsiteX4" fmla="*/ 265280 w 265373"/>
                  <a:gd name="connsiteY4" fmla="*/ 194005 h 248209"/>
                  <a:gd name="connsiteX5" fmla="*/ 218835 w 265373"/>
                  <a:gd name="connsiteY5" fmla="*/ 94700 h 248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5373" h="248209">
                    <a:moveTo>
                      <a:pt x="218835" y="94700"/>
                    </a:moveTo>
                    <a:cubicBezTo>
                      <a:pt x="208828" y="31575"/>
                      <a:pt x="190096" y="-756"/>
                      <a:pt x="117477" y="13"/>
                    </a:cubicBezTo>
                    <a:cubicBezTo>
                      <a:pt x="42036" y="783"/>
                      <a:pt x="35621" y="62368"/>
                      <a:pt x="13296" y="112405"/>
                    </a:cubicBezTo>
                    <a:cubicBezTo>
                      <a:pt x="-21858" y="190925"/>
                      <a:pt x="23817" y="221461"/>
                      <a:pt x="23817" y="221461"/>
                    </a:cubicBezTo>
                    <a:cubicBezTo>
                      <a:pt x="99002" y="256102"/>
                      <a:pt x="194715" y="266623"/>
                      <a:pt x="265280" y="194005"/>
                    </a:cubicBezTo>
                    <a:cubicBezTo>
                      <a:pt x="267590" y="132677"/>
                      <a:pt x="226020" y="140375"/>
                      <a:pt x="218835" y="94700"/>
                    </a:cubicBezTo>
                    <a:close/>
                  </a:path>
                </a:pathLst>
              </a:custGeom>
              <a:solidFill>
                <a:srgbClr val="000028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F5489B27-E151-4315-BB48-C80F464FD3FD}"/>
                  </a:ext>
                </a:extLst>
              </p:cNvPr>
              <p:cNvSpPr/>
              <p:nvPr/>
            </p:nvSpPr>
            <p:spPr>
              <a:xfrm>
                <a:off x="6630713" y="3646856"/>
                <a:ext cx="168196" cy="153029"/>
              </a:xfrm>
              <a:custGeom>
                <a:avLst/>
                <a:gdLst>
                  <a:gd name="connsiteX0" fmla="*/ 131874 w 132555"/>
                  <a:gd name="connsiteY0" fmla="*/ 71592 h 120602"/>
                  <a:gd name="connsiteX1" fmla="*/ 105444 w 132555"/>
                  <a:gd name="connsiteY1" fmla="*/ 0 h 120602"/>
                  <a:gd name="connsiteX2" fmla="*/ 27180 w 132555"/>
                  <a:gd name="connsiteY2" fmla="*/ 0 h 120602"/>
                  <a:gd name="connsiteX3" fmla="*/ 237 w 132555"/>
                  <a:gd name="connsiteY3" fmla="*/ 71592 h 120602"/>
                  <a:gd name="connsiteX4" fmla="*/ 11270 w 132555"/>
                  <a:gd name="connsiteY4" fmla="*/ 120603 h 120602"/>
                  <a:gd name="connsiteX5" fmla="*/ 122893 w 132555"/>
                  <a:gd name="connsiteY5" fmla="*/ 120603 h 120602"/>
                  <a:gd name="connsiteX6" fmla="*/ 131874 w 132555"/>
                  <a:gd name="connsiteY6" fmla="*/ 71592 h 120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2555" h="120602">
                    <a:moveTo>
                      <a:pt x="131874" y="71592"/>
                    </a:moveTo>
                    <a:cubicBezTo>
                      <a:pt x="103134" y="68769"/>
                      <a:pt x="107240" y="35154"/>
                      <a:pt x="105444" y="0"/>
                    </a:cubicBezTo>
                    <a:lnTo>
                      <a:pt x="27180" y="0"/>
                    </a:lnTo>
                    <a:cubicBezTo>
                      <a:pt x="23844" y="31819"/>
                      <a:pt x="27693" y="61584"/>
                      <a:pt x="237" y="71592"/>
                    </a:cubicBezTo>
                    <a:cubicBezTo>
                      <a:pt x="237" y="85192"/>
                      <a:pt x="-2586" y="110595"/>
                      <a:pt x="11270" y="120603"/>
                    </a:cubicBezTo>
                    <a:lnTo>
                      <a:pt x="122893" y="120603"/>
                    </a:lnTo>
                    <a:cubicBezTo>
                      <a:pt x="136236" y="110595"/>
                      <a:pt x="131874" y="84165"/>
                      <a:pt x="131874" y="71592"/>
                    </a:cubicBezTo>
                    <a:close/>
                  </a:path>
                </a:pathLst>
              </a:custGeom>
              <a:solidFill>
                <a:srgbClr val="DEDED5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Freihandform: Form 148">
                <a:extLst>
                  <a:ext uri="{FF2B5EF4-FFF2-40B4-BE49-F238E27FC236}">
                    <a16:creationId xmlns:a16="http://schemas.microsoft.com/office/drawing/2014/main" id="{D9FC8323-E3AD-4415-9D72-CC1FA668D5A6}"/>
                  </a:ext>
                </a:extLst>
              </p:cNvPr>
              <p:cNvSpPr/>
              <p:nvPr/>
            </p:nvSpPr>
            <p:spPr>
              <a:xfrm>
                <a:off x="6664224" y="3572945"/>
                <a:ext cx="103214" cy="135128"/>
              </a:xfrm>
              <a:custGeom>
                <a:avLst/>
                <a:gdLst>
                  <a:gd name="connsiteX0" fmla="*/ 0 w 81343"/>
                  <a:gd name="connsiteY0" fmla="*/ 54400 h 106494"/>
                  <a:gd name="connsiteX1" fmla="*/ 1026 w 81343"/>
                  <a:gd name="connsiteY1" fmla="*/ 513 h 106494"/>
                  <a:gd name="connsiteX2" fmla="*/ 74671 w 81343"/>
                  <a:gd name="connsiteY2" fmla="*/ 0 h 106494"/>
                  <a:gd name="connsiteX3" fmla="*/ 78521 w 81343"/>
                  <a:gd name="connsiteY3" fmla="*/ 40800 h 106494"/>
                  <a:gd name="connsiteX4" fmla="*/ 81343 w 81343"/>
                  <a:gd name="connsiteY4" fmla="*/ 102128 h 106494"/>
                  <a:gd name="connsiteX5" fmla="*/ 0 w 81343"/>
                  <a:gd name="connsiteY5" fmla="*/ 54400 h 106494"/>
                  <a:gd name="connsiteX6" fmla="*/ 0 w 81343"/>
                  <a:gd name="connsiteY6" fmla="*/ 54400 h 106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1343" h="106494">
                    <a:moveTo>
                      <a:pt x="0" y="54400"/>
                    </a:moveTo>
                    <a:lnTo>
                      <a:pt x="1026" y="513"/>
                    </a:lnTo>
                    <a:lnTo>
                      <a:pt x="74671" y="0"/>
                    </a:lnTo>
                    <a:lnTo>
                      <a:pt x="78521" y="40800"/>
                    </a:lnTo>
                    <a:cubicBezTo>
                      <a:pt x="79290" y="63381"/>
                      <a:pt x="80317" y="84935"/>
                      <a:pt x="81343" y="102128"/>
                    </a:cubicBezTo>
                    <a:cubicBezTo>
                      <a:pt x="43879" y="118807"/>
                      <a:pt x="11804" y="84422"/>
                      <a:pt x="0" y="54400"/>
                    </a:cubicBezTo>
                    <a:lnTo>
                      <a:pt x="0" y="54400"/>
                    </a:lnTo>
                    <a:close/>
                  </a:path>
                </a:pathLst>
              </a:custGeom>
              <a:solidFill>
                <a:srgbClr val="BDBDAD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294301C8-1127-4F08-8790-A6C4FE6C59BF}"/>
                  </a:ext>
                </a:extLst>
              </p:cNvPr>
              <p:cNvSpPr/>
              <p:nvPr/>
            </p:nvSpPr>
            <p:spPr>
              <a:xfrm>
                <a:off x="6606712" y="3553216"/>
                <a:ext cx="42628" cy="54385"/>
              </a:xfrm>
              <a:custGeom>
                <a:avLst/>
                <a:gdLst>
                  <a:gd name="connsiteX0" fmla="*/ 1190 w 33595"/>
                  <a:gd name="connsiteY0" fmla="*/ 23247 h 42861"/>
                  <a:gd name="connsiteX1" fmla="*/ 24284 w 33595"/>
                  <a:gd name="connsiteY1" fmla="*/ 42493 h 42861"/>
                  <a:gd name="connsiteX2" fmla="*/ 32496 w 33595"/>
                  <a:gd name="connsiteY2" fmla="*/ 19142 h 42861"/>
                  <a:gd name="connsiteX3" fmla="*/ 15560 w 33595"/>
                  <a:gd name="connsiteY3" fmla="*/ 153 h 42861"/>
                  <a:gd name="connsiteX4" fmla="*/ 1190 w 33595"/>
                  <a:gd name="connsiteY4" fmla="*/ 23247 h 42861"/>
                  <a:gd name="connsiteX5" fmla="*/ 1190 w 33595"/>
                  <a:gd name="connsiteY5" fmla="*/ 23247 h 4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595" h="42861">
                    <a:moveTo>
                      <a:pt x="1190" y="23247"/>
                    </a:moveTo>
                    <a:cubicBezTo>
                      <a:pt x="4526" y="33768"/>
                      <a:pt x="16586" y="45059"/>
                      <a:pt x="24284" y="42493"/>
                    </a:cubicBezTo>
                    <a:cubicBezTo>
                      <a:pt x="31982" y="40183"/>
                      <a:pt x="35575" y="29663"/>
                      <a:pt x="32496" y="19142"/>
                    </a:cubicBezTo>
                    <a:cubicBezTo>
                      <a:pt x="29160" y="8621"/>
                      <a:pt x="23771" y="1180"/>
                      <a:pt x="15560" y="153"/>
                    </a:cubicBezTo>
                    <a:cubicBezTo>
                      <a:pt x="1190" y="-1643"/>
                      <a:pt x="-2146" y="12727"/>
                      <a:pt x="1190" y="23247"/>
                    </a:cubicBezTo>
                    <a:lnTo>
                      <a:pt x="1190" y="23247"/>
                    </a:lnTo>
                    <a:close/>
                  </a:path>
                </a:pathLst>
              </a:custGeom>
              <a:solidFill>
                <a:srgbClr val="DEDED5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ED251E64-F070-4E07-BF91-C01FDFFE954F}"/>
                  </a:ext>
                </a:extLst>
              </p:cNvPr>
              <p:cNvSpPr/>
              <p:nvPr/>
            </p:nvSpPr>
            <p:spPr>
              <a:xfrm>
                <a:off x="6789159" y="3553216"/>
                <a:ext cx="42668" cy="54385"/>
              </a:xfrm>
              <a:custGeom>
                <a:avLst/>
                <a:gdLst>
                  <a:gd name="connsiteX0" fmla="*/ 32405 w 33627"/>
                  <a:gd name="connsiteY0" fmla="*/ 23247 h 42861"/>
                  <a:gd name="connsiteX1" fmla="*/ 9311 w 33627"/>
                  <a:gd name="connsiteY1" fmla="*/ 42493 h 42861"/>
                  <a:gd name="connsiteX2" fmla="*/ 1100 w 33627"/>
                  <a:gd name="connsiteY2" fmla="*/ 19142 h 42861"/>
                  <a:gd name="connsiteX3" fmla="*/ 18036 w 33627"/>
                  <a:gd name="connsiteY3" fmla="*/ 153 h 42861"/>
                  <a:gd name="connsiteX4" fmla="*/ 32405 w 33627"/>
                  <a:gd name="connsiteY4" fmla="*/ 23247 h 42861"/>
                  <a:gd name="connsiteX5" fmla="*/ 32405 w 33627"/>
                  <a:gd name="connsiteY5" fmla="*/ 23247 h 42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627" h="42861">
                    <a:moveTo>
                      <a:pt x="32405" y="23247"/>
                    </a:moveTo>
                    <a:cubicBezTo>
                      <a:pt x="29069" y="33768"/>
                      <a:pt x="17009" y="45059"/>
                      <a:pt x="9311" y="42493"/>
                    </a:cubicBezTo>
                    <a:cubicBezTo>
                      <a:pt x="1613" y="40183"/>
                      <a:pt x="-1979" y="29663"/>
                      <a:pt x="1100" y="19142"/>
                    </a:cubicBezTo>
                    <a:cubicBezTo>
                      <a:pt x="4436" y="8621"/>
                      <a:pt x="9824" y="1180"/>
                      <a:pt x="18036" y="153"/>
                    </a:cubicBezTo>
                    <a:cubicBezTo>
                      <a:pt x="32662" y="-1643"/>
                      <a:pt x="35741" y="12727"/>
                      <a:pt x="32405" y="23247"/>
                    </a:cubicBezTo>
                    <a:lnTo>
                      <a:pt x="32405" y="23247"/>
                    </a:lnTo>
                    <a:close/>
                  </a:path>
                </a:pathLst>
              </a:custGeom>
              <a:solidFill>
                <a:srgbClr val="DEDED5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9ADBE6DB-969E-4682-8ED5-2E267C057812}"/>
                  </a:ext>
                </a:extLst>
              </p:cNvPr>
              <p:cNvSpPr/>
              <p:nvPr/>
            </p:nvSpPr>
            <p:spPr>
              <a:xfrm>
                <a:off x="6800974" y="3590528"/>
                <a:ext cx="11070" cy="11070"/>
              </a:xfrm>
              <a:custGeom>
                <a:avLst/>
                <a:gdLst>
                  <a:gd name="connsiteX0" fmla="*/ 0 w 8724"/>
                  <a:gd name="connsiteY0" fmla="*/ 4362 h 8724"/>
                  <a:gd name="connsiteX1" fmla="*/ 4362 w 8724"/>
                  <a:gd name="connsiteY1" fmla="*/ 8724 h 8724"/>
                  <a:gd name="connsiteX2" fmla="*/ 8725 w 8724"/>
                  <a:gd name="connsiteY2" fmla="*/ 4362 h 8724"/>
                  <a:gd name="connsiteX3" fmla="*/ 4362 w 8724"/>
                  <a:gd name="connsiteY3" fmla="*/ 0 h 8724"/>
                  <a:gd name="connsiteX4" fmla="*/ 0 w 8724"/>
                  <a:gd name="connsiteY4" fmla="*/ 4362 h 8724"/>
                  <a:gd name="connsiteX5" fmla="*/ 0 w 8724"/>
                  <a:gd name="connsiteY5" fmla="*/ 4362 h 8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724" h="8724">
                    <a:moveTo>
                      <a:pt x="0" y="4362"/>
                    </a:moveTo>
                    <a:cubicBezTo>
                      <a:pt x="0" y="6672"/>
                      <a:pt x="2053" y="8724"/>
                      <a:pt x="4362" y="8724"/>
                    </a:cubicBezTo>
                    <a:cubicBezTo>
                      <a:pt x="6672" y="8724"/>
                      <a:pt x="8725" y="6672"/>
                      <a:pt x="8725" y="4362"/>
                    </a:cubicBezTo>
                    <a:cubicBezTo>
                      <a:pt x="8725" y="2053"/>
                      <a:pt x="6672" y="0"/>
                      <a:pt x="4362" y="0"/>
                    </a:cubicBezTo>
                    <a:cubicBezTo>
                      <a:pt x="2053" y="0"/>
                      <a:pt x="0" y="2053"/>
                      <a:pt x="0" y="4362"/>
                    </a:cubicBezTo>
                    <a:lnTo>
                      <a:pt x="0" y="4362"/>
                    </a:lnTo>
                    <a:close/>
                  </a:path>
                </a:pathLst>
              </a:custGeom>
              <a:solidFill>
                <a:srgbClr val="FFFFFF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2908B515-A6A5-443F-9F2E-7E632EE4CA09}"/>
                  </a:ext>
                </a:extLst>
              </p:cNvPr>
              <p:cNvSpPr/>
              <p:nvPr/>
            </p:nvSpPr>
            <p:spPr>
              <a:xfrm>
                <a:off x="6623806" y="3419339"/>
                <a:ext cx="185607" cy="258823"/>
              </a:xfrm>
              <a:custGeom>
                <a:avLst/>
                <a:gdLst>
                  <a:gd name="connsiteX0" fmla="*/ 122437 w 146277"/>
                  <a:gd name="connsiteY0" fmla="*/ 169810 h 203978"/>
                  <a:gd name="connsiteX1" fmla="*/ 2860 w 146277"/>
                  <a:gd name="connsiteY1" fmla="*/ 53056 h 203978"/>
                  <a:gd name="connsiteX2" fmla="*/ 139373 w 146277"/>
                  <a:gd name="connsiteY2" fmla="*/ 42279 h 203978"/>
                  <a:gd name="connsiteX3" fmla="*/ 122437 w 146277"/>
                  <a:gd name="connsiteY3" fmla="*/ 169810 h 203978"/>
                  <a:gd name="connsiteX4" fmla="*/ 122437 w 146277"/>
                  <a:gd name="connsiteY4" fmla="*/ 169810 h 203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77" h="203978">
                    <a:moveTo>
                      <a:pt x="122437" y="169810"/>
                    </a:moveTo>
                    <a:cubicBezTo>
                      <a:pt x="50588" y="271168"/>
                      <a:pt x="-14589" y="121312"/>
                      <a:pt x="2860" y="53056"/>
                    </a:cubicBezTo>
                    <a:cubicBezTo>
                      <a:pt x="18513" y="-8785"/>
                      <a:pt x="109864" y="-21872"/>
                      <a:pt x="139373" y="42279"/>
                    </a:cubicBezTo>
                    <a:cubicBezTo>
                      <a:pt x="153999" y="74354"/>
                      <a:pt x="143992" y="142097"/>
                      <a:pt x="122437" y="169810"/>
                    </a:cubicBezTo>
                    <a:lnTo>
                      <a:pt x="122437" y="169810"/>
                    </a:lnTo>
                    <a:close/>
                  </a:path>
                </a:pathLst>
              </a:custGeom>
              <a:solidFill>
                <a:srgbClr val="DEDED5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0EA6BF45-E35A-47D0-BB1F-085489AAD008}"/>
                  </a:ext>
                </a:extLst>
              </p:cNvPr>
              <p:cNvSpPr/>
              <p:nvPr/>
            </p:nvSpPr>
            <p:spPr>
              <a:xfrm>
                <a:off x="6626780" y="3596389"/>
                <a:ext cx="3907" cy="50792"/>
              </a:xfrm>
              <a:custGeom>
                <a:avLst/>
                <a:gdLst>
                  <a:gd name="connsiteX0" fmla="*/ 0 w 3079"/>
                  <a:gd name="connsiteY0" fmla="*/ 0 h 40029"/>
                  <a:gd name="connsiteX1" fmla="*/ 3079 w 3079"/>
                  <a:gd name="connsiteY1" fmla="*/ 0 h 40029"/>
                  <a:gd name="connsiteX2" fmla="*/ 3079 w 3079"/>
                  <a:gd name="connsiteY2" fmla="*/ 40030 h 40029"/>
                  <a:gd name="connsiteX3" fmla="*/ 0 w 3079"/>
                  <a:gd name="connsiteY3" fmla="*/ 40030 h 40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9" h="40029">
                    <a:moveTo>
                      <a:pt x="0" y="0"/>
                    </a:moveTo>
                    <a:lnTo>
                      <a:pt x="3079" y="0"/>
                    </a:lnTo>
                    <a:lnTo>
                      <a:pt x="3079" y="40030"/>
                    </a:lnTo>
                    <a:lnTo>
                      <a:pt x="0" y="40030"/>
                    </a:lnTo>
                    <a:close/>
                  </a:path>
                </a:pathLst>
              </a:custGeom>
              <a:solidFill>
                <a:srgbClr val="FFFFFF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DC95FA49-F546-446A-9CB9-651686E7CAD3}"/>
                  </a:ext>
                </a:extLst>
              </p:cNvPr>
              <p:cNvSpPr/>
              <p:nvPr/>
            </p:nvSpPr>
            <p:spPr>
              <a:xfrm>
                <a:off x="6692551" y="3617624"/>
                <a:ext cx="50141" cy="15537"/>
              </a:xfrm>
              <a:custGeom>
                <a:avLst/>
                <a:gdLst>
                  <a:gd name="connsiteX0" fmla="*/ 0 w 39516"/>
                  <a:gd name="connsiteY0" fmla="*/ 1740 h 12245"/>
                  <a:gd name="connsiteX1" fmla="*/ 39517 w 39516"/>
                  <a:gd name="connsiteY1" fmla="*/ 970 h 12245"/>
                  <a:gd name="connsiteX2" fmla="*/ 0 w 39516"/>
                  <a:gd name="connsiteY2" fmla="*/ 1740 h 12245"/>
                  <a:gd name="connsiteX3" fmla="*/ 0 w 39516"/>
                  <a:gd name="connsiteY3" fmla="*/ 1740 h 12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516" h="12245">
                    <a:moveTo>
                      <a:pt x="0" y="1740"/>
                    </a:moveTo>
                    <a:cubicBezTo>
                      <a:pt x="0" y="1740"/>
                      <a:pt x="15140" y="-1596"/>
                      <a:pt x="39517" y="970"/>
                    </a:cubicBezTo>
                    <a:cubicBezTo>
                      <a:pt x="33615" y="15083"/>
                      <a:pt x="6158" y="16623"/>
                      <a:pt x="0" y="1740"/>
                    </a:cubicBezTo>
                    <a:lnTo>
                      <a:pt x="0" y="1740"/>
                    </a:lnTo>
                    <a:close/>
                  </a:path>
                </a:pathLst>
              </a:custGeom>
              <a:solidFill>
                <a:srgbClr val="FFFFFF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A7139CB4-933D-4CBC-9581-443B567DBEC4}"/>
                  </a:ext>
                </a:extLst>
              </p:cNvPr>
              <p:cNvSpPr/>
              <p:nvPr/>
            </p:nvSpPr>
            <p:spPr>
              <a:xfrm>
                <a:off x="6705249" y="3639367"/>
                <a:ext cx="21488" cy="4558"/>
              </a:xfrm>
              <a:custGeom>
                <a:avLst/>
                <a:gdLst>
                  <a:gd name="connsiteX0" fmla="*/ 8981 w 16935"/>
                  <a:gd name="connsiteY0" fmla="*/ 3592 h 3592"/>
                  <a:gd name="connsiteX1" fmla="*/ 0 w 16935"/>
                  <a:gd name="connsiteY1" fmla="*/ 1540 h 3592"/>
                  <a:gd name="connsiteX2" fmla="*/ 770 w 16935"/>
                  <a:gd name="connsiteY2" fmla="*/ 0 h 3592"/>
                  <a:gd name="connsiteX3" fmla="*/ 16423 w 16935"/>
                  <a:gd name="connsiteY3" fmla="*/ 770 h 3592"/>
                  <a:gd name="connsiteX4" fmla="*/ 16936 w 16935"/>
                  <a:gd name="connsiteY4" fmla="*/ 2566 h 3592"/>
                  <a:gd name="connsiteX5" fmla="*/ 8981 w 16935"/>
                  <a:gd name="connsiteY5" fmla="*/ 3592 h 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935" h="3592">
                    <a:moveTo>
                      <a:pt x="8981" y="3592"/>
                    </a:moveTo>
                    <a:cubicBezTo>
                      <a:pt x="6158" y="3592"/>
                      <a:pt x="2823" y="3079"/>
                      <a:pt x="0" y="1540"/>
                    </a:cubicBezTo>
                    <a:lnTo>
                      <a:pt x="770" y="0"/>
                    </a:lnTo>
                    <a:cubicBezTo>
                      <a:pt x="7441" y="3592"/>
                      <a:pt x="16423" y="770"/>
                      <a:pt x="16423" y="770"/>
                    </a:cubicBezTo>
                    <a:lnTo>
                      <a:pt x="16936" y="2566"/>
                    </a:lnTo>
                    <a:cubicBezTo>
                      <a:pt x="16679" y="2566"/>
                      <a:pt x="13343" y="3592"/>
                      <a:pt x="8981" y="3592"/>
                    </a:cubicBezTo>
                    <a:close/>
                  </a:path>
                </a:pathLst>
              </a:custGeom>
              <a:solidFill>
                <a:srgbClr val="F0AAC3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AF22CE55-D468-4C95-9D51-F95EF6C57150}"/>
                  </a:ext>
                </a:extLst>
              </p:cNvPr>
              <p:cNvSpPr/>
              <p:nvPr/>
            </p:nvSpPr>
            <p:spPr>
              <a:xfrm>
                <a:off x="6734878" y="3586621"/>
                <a:ext cx="5331" cy="10744"/>
              </a:xfrm>
              <a:custGeom>
                <a:avLst/>
                <a:gdLst>
                  <a:gd name="connsiteX0" fmla="*/ 1540 w 4201"/>
                  <a:gd name="connsiteY0" fmla="*/ 8468 h 8467"/>
                  <a:gd name="connsiteX1" fmla="*/ 770 w 4201"/>
                  <a:gd name="connsiteY1" fmla="*/ 6672 h 8467"/>
                  <a:gd name="connsiteX2" fmla="*/ 2309 w 4201"/>
                  <a:gd name="connsiteY2" fmla="*/ 4619 h 8467"/>
                  <a:gd name="connsiteX3" fmla="*/ 2053 w 4201"/>
                  <a:gd name="connsiteY3" fmla="*/ 3336 h 8467"/>
                  <a:gd name="connsiteX4" fmla="*/ 0 w 4201"/>
                  <a:gd name="connsiteY4" fmla="*/ 1796 h 8467"/>
                  <a:gd name="connsiteX5" fmla="*/ 0 w 4201"/>
                  <a:gd name="connsiteY5" fmla="*/ 0 h 8467"/>
                  <a:gd name="connsiteX6" fmla="*/ 3336 w 4201"/>
                  <a:gd name="connsiteY6" fmla="*/ 2053 h 8467"/>
                  <a:gd name="connsiteX7" fmla="*/ 4106 w 4201"/>
                  <a:gd name="connsiteY7" fmla="*/ 5132 h 8467"/>
                  <a:gd name="connsiteX8" fmla="*/ 1540 w 4201"/>
                  <a:gd name="connsiteY8" fmla="*/ 8468 h 8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01" h="8467">
                    <a:moveTo>
                      <a:pt x="1540" y="8468"/>
                    </a:moveTo>
                    <a:lnTo>
                      <a:pt x="770" y="6672"/>
                    </a:lnTo>
                    <a:cubicBezTo>
                      <a:pt x="770" y="6672"/>
                      <a:pt x="1796" y="6158"/>
                      <a:pt x="2309" y="4619"/>
                    </a:cubicBezTo>
                    <a:cubicBezTo>
                      <a:pt x="2309" y="4362"/>
                      <a:pt x="2309" y="3849"/>
                      <a:pt x="2053" y="3336"/>
                    </a:cubicBezTo>
                    <a:cubicBezTo>
                      <a:pt x="1540" y="2309"/>
                      <a:pt x="257" y="1796"/>
                      <a:pt x="0" y="1796"/>
                    </a:cubicBezTo>
                    <a:lnTo>
                      <a:pt x="0" y="0"/>
                    </a:lnTo>
                    <a:cubicBezTo>
                      <a:pt x="1026" y="0"/>
                      <a:pt x="2309" y="1026"/>
                      <a:pt x="3336" y="2053"/>
                    </a:cubicBezTo>
                    <a:cubicBezTo>
                      <a:pt x="4106" y="3079"/>
                      <a:pt x="4362" y="4106"/>
                      <a:pt x="4106" y="5132"/>
                    </a:cubicBezTo>
                    <a:cubicBezTo>
                      <a:pt x="3336" y="7698"/>
                      <a:pt x="1540" y="8468"/>
                      <a:pt x="1540" y="8468"/>
                    </a:cubicBezTo>
                    <a:close/>
                  </a:path>
                </a:pathLst>
              </a:custGeom>
              <a:solidFill>
                <a:srgbClr val="BDBDAD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2CFE714B-B33C-43C4-B7CF-85DE74B0C0C7}"/>
                  </a:ext>
                </a:extLst>
              </p:cNvPr>
              <p:cNvSpPr/>
              <p:nvPr/>
            </p:nvSpPr>
            <p:spPr>
              <a:xfrm>
                <a:off x="6702243" y="3596538"/>
                <a:ext cx="30089" cy="5667"/>
              </a:xfrm>
              <a:custGeom>
                <a:avLst/>
                <a:gdLst>
                  <a:gd name="connsiteX0" fmla="*/ 1086 w 23713"/>
                  <a:gd name="connsiteY0" fmla="*/ 2449 h 4466"/>
                  <a:gd name="connsiteX1" fmla="*/ 14686 w 23713"/>
                  <a:gd name="connsiteY1" fmla="*/ 4245 h 4466"/>
                  <a:gd name="connsiteX2" fmla="*/ 22384 w 23713"/>
                  <a:gd name="connsiteY2" fmla="*/ 910 h 4466"/>
                  <a:gd name="connsiteX3" fmla="*/ 573 w 23713"/>
                  <a:gd name="connsiteY3" fmla="*/ 653 h 4466"/>
                  <a:gd name="connsiteX4" fmla="*/ 1086 w 23713"/>
                  <a:gd name="connsiteY4" fmla="*/ 2449 h 4466"/>
                  <a:gd name="connsiteX5" fmla="*/ 1086 w 23713"/>
                  <a:gd name="connsiteY5" fmla="*/ 2449 h 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13" h="4466">
                    <a:moveTo>
                      <a:pt x="1086" y="2449"/>
                    </a:moveTo>
                    <a:cubicBezTo>
                      <a:pt x="6218" y="5015"/>
                      <a:pt x="9040" y="4502"/>
                      <a:pt x="14686" y="4245"/>
                    </a:cubicBezTo>
                    <a:cubicBezTo>
                      <a:pt x="22640" y="3732"/>
                      <a:pt x="25720" y="2449"/>
                      <a:pt x="22384" y="910"/>
                    </a:cubicBezTo>
                    <a:cubicBezTo>
                      <a:pt x="19048" y="-630"/>
                      <a:pt x="2112" y="140"/>
                      <a:pt x="573" y="653"/>
                    </a:cubicBezTo>
                    <a:cubicBezTo>
                      <a:pt x="-967" y="910"/>
                      <a:pt x="1086" y="2449"/>
                      <a:pt x="1086" y="2449"/>
                    </a:cubicBezTo>
                    <a:lnTo>
                      <a:pt x="1086" y="2449"/>
                    </a:lnTo>
                    <a:close/>
                  </a:path>
                </a:pathLst>
              </a:custGeom>
              <a:solidFill>
                <a:srgbClr val="BDBDAD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4E72BAE4-B8EF-4CBE-B2EA-958A2700F9C4}"/>
                  </a:ext>
                </a:extLst>
              </p:cNvPr>
              <p:cNvSpPr/>
              <p:nvPr/>
            </p:nvSpPr>
            <p:spPr>
              <a:xfrm>
                <a:off x="6649279" y="3523129"/>
                <a:ext cx="47994" cy="25695"/>
              </a:xfrm>
              <a:custGeom>
                <a:avLst/>
                <a:gdLst>
                  <a:gd name="connsiteX0" fmla="*/ 2284 w 37824"/>
                  <a:gd name="connsiteY0" fmla="*/ 257 h 20250"/>
                  <a:gd name="connsiteX1" fmla="*/ 2027 w 37824"/>
                  <a:gd name="connsiteY1" fmla="*/ 4875 h 20250"/>
                  <a:gd name="connsiteX2" fmla="*/ 36412 w 37824"/>
                  <a:gd name="connsiteY2" fmla="*/ 20015 h 20250"/>
                  <a:gd name="connsiteX3" fmla="*/ 35899 w 37824"/>
                  <a:gd name="connsiteY3" fmla="*/ 1540 h 20250"/>
                  <a:gd name="connsiteX4" fmla="*/ 33589 w 37824"/>
                  <a:gd name="connsiteY4" fmla="*/ 0 h 20250"/>
                  <a:gd name="connsiteX5" fmla="*/ 2284 w 37824"/>
                  <a:gd name="connsiteY5" fmla="*/ 257 h 2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824" h="20250">
                    <a:moveTo>
                      <a:pt x="2284" y="257"/>
                    </a:moveTo>
                    <a:cubicBezTo>
                      <a:pt x="-26" y="-257"/>
                      <a:pt x="-1309" y="5389"/>
                      <a:pt x="2027" y="4875"/>
                    </a:cubicBezTo>
                    <a:cubicBezTo>
                      <a:pt x="32050" y="-770"/>
                      <a:pt x="26917" y="22838"/>
                      <a:pt x="36412" y="20015"/>
                    </a:cubicBezTo>
                    <a:cubicBezTo>
                      <a:pt x="37438" y="19758"/>
                      <a:pt x="39234" y="5132"/>
                      <a:pt x="35899" y="1540"/>
                    </a:cubicBezTo>
                    <a:cubicBezTo>
                      <a:pt x="35899" y="1540"/>
                      <a:pt x="34872" y="0"/>
                      <a:pt x="33589" y="0"/>
                    </a:cubicBezTo>
                    <a:lnTo>
                      <a:pt x="2284" y="257"/>
                    </a:lnTo>
                    <a:close/>
                  </a:path>
                </a:pathLst>
              </a:custGeom>
              <a:solidFill>
                <a:srgbClr val="BDBDAD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00737D02-CDB5-4B81-AFEA-70A4CB856365}"/>
                  </a:ext>
                </a:extLst>
              </p:cNvPr>
              <p:cNvSpPr/>
              <p:nvPr/>
            </p:nvSpPr>
            <p:spPr>
              <a:xfrm>
                <a:off x="6730373" y="3518344"/>
                <a:ext cx="50112" cy="39128"/>
              </a:xfrm>
              <a:custGeom>
                <a:avLst/>
                <a:gdLst>
                  <a:gd name="connsiteX0" fmla="*/ 3808 w 39493"/>
                  <a:gd name="connsiteY0" fmla="*/ 4284 h 30837"/>
                  <a:gd name="connsiteX1" fmla="*/ 1242 w 39493"/>
                  <a:gd name="connsiteY1" fmla="*/ 30458 h 30837"/>
                  <a:gd name="connsiteX2" fmla="*/ 14072 w 39493"/>
                  <a:gd name="connsiteY2" fmla="*/ 15575 h 30837"/>
                  <a:gd name="connsiteX3" fmla="*/ 39476 w 39493"/>
                  <a:gd name="connsiteY3" fmla="*/ 5824 h 30837"/>
                  <a:gd name="connsiteX4" fmla="*/ 37166 w 39493"/>
                  <a:gd name="connsiteY4" fmla="*/ 1462 h 30837"/>
                  <a:gd name="connsiteX5" fmla="*/ 26389 w 39493"/>
                  <a:gd name="connsiteY5" fmla="*/ 692 h 30837"/>
                  <a:gd name="connsiteX6" fmla="*/ 3808 w 39493"/>
                  <a:gd name="connsiteY6" fmla="*/ 4284 h 30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93" h="30837">
                    <a:moveTo>
                      <a:pt x="3808" y="4284"/>
                    </a:moveTo>
                    <a:cubicBezTo>
                      <a:pt x="1499" y="4284"/>
                      <a:pt x="-1837" y="28661"/>
                      <a:pt x="1242" y="30458"/>
                    </a:cubicBezTo>
                    <a:cubicBezTo>
                      <a:pt x="5861" y="33024"/>
                      <a:pt x="2525" y="21990"/>
                      <a:pt x="14072" y="15575"/>
                    </a:cubicBezTo>
                    <a:cubicBezTo>
                      <a:pt x="27672" y="7877"/>
                      <a:pt x="36397" y="14805"/>
                      <a:pt x="39476" y="5824"/>
                    </a:cubicBezTo>
                    <a:cubicBezTo>
                      <a:pt x="39732" y="4797"/>
                      <a:pt x="37166" y="1462"/>
                      <a:pt x="37166" y="1462"/>
                    </a:cubicBezTo>
                    <a:cubicBezTo>
                      <a:pt x="36397" y="-1104"/>
                      <a:pt x="27415" y="435"/>
                      <a:pt x="26389" y="692"/>
                    </a:cubicBezTo>
                    <a:lnTo>
                      <a:pt x="3808" y="4284"/>
                    </a:lnTo>
                    <a:close/>
                  </a:path>
                </a:pathLst>
              </a:custGeom>
              <a:solidFill>
                <a:srgbClr val="BDBDAD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131D02FC-E9F9-4A6D-969E-20929FD5BDEA}"/>
                  </a:ext>
                </a:extLst>
              </p:cNvPr>
              <p:cNvSpPr/>
              <p:nvPr/>
            </p:nvSpPr>
            <p:spPr>
              <a:xfrm>
                <a:off x="6648838" y="3513594"/>
                <a:ext cx="46053" cy="16007"/>
              </a:xfrm>
              <a:custGeom>
                <a:avLst/>
                <a:gdLst>
                  <a:gd name="connsiteX0" fmla="*/ 65 w 36294"/>
                  <a:gd name="connsiteY0" fmla="*/ 10851 h 12615"/>
                  <a:gd name="connsiteX1" fmla="*/ 15717 w 36294"/>
                  <a:gd name="connsiteY1" fmla="*/ 330 h 12615"/>
                  <a:gd name="connsiteX2" fmla="*/ 36246 w 36294"/>
                  <a:gd name="connsiteY2" fmla="*/ 7258 h 12615"/>
                  <a:gd name="connsiteX3" fmla="*/ 29061 w 36294"/>
                  <a:gd name="connsiteY3" fmla="*/ 10081 h 12615"/>
                  <a:gd name="connsiteX4" fmla="*/ 15461 w 36294"/>
                  <a:gd name="connsiteY4" fmla="*/ 8541 h 12615"/>
                  <a:gd name="connsiteX5" fmla="*/ 65 w 36294"/>
                  <a:gd name="connsiteY5" fmla="*/ 10851 h 12615"/>
                  <a:gd name="connsiteX6" fmla="*/ 65 w 36294"/>
                  <a:gd name="connsiteY6" fmla="*/ 10851 h 1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294" h="12615">
                    <a:moveTo>
                      <a:pt x="65" y="10851"/>
                    </a:moveTo>
                    <a:cubicBezTo>
                      <a:pt x="-449" y="9311"/>
                      <a:pt x="1861" y="1870"/>
                      <a:pt x="15717" y="330"/>
                    </a:cubicBezTo>
                    <a:cubicBezTo>
                      <a:pt x="29574" y="-1209"/>
                      <a:pt x="35732" y="2896"/>
                      <a:pt x="36246" y="7258"/>
                    </a:cubicBezTo>
                    <a:cubicBezTo>
                      <a:pt x="36759" y="11621"/>
                      <a:pt x="33166" y="11364"/>
                      <a:pt x="29061" y="10081"/>
                    </a:cubicBezTo>
                    <a:cubicBezTo>
                      <a:pt x="25212" y="8798"/>
                      <a:pt x="18797" y="8028"/>
                      <a:pt x="15461" y="8541"/>
                    </a:cubicBezTo>
                    <a:cubicBezTo>
                      <a:pt x="2887" y="10338"/>
                      <a:pt x="1861" y="15213"/>
                      <a:pt x="65" y="10851"/>
                    </a:cubicBezTo>
                    <a:lnTo>
                      <a:pt x="65" y="10851"/>
                    </a:lnTo>
                    <a:close/>
                  </a:path>
                </a:pathLst>
              </a:custGeom>
              <a:solidFill>
                <a:srgbClr val="000028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89315877-B1D7-43C5-B350-DD7368A58B34}"/>
                  </a:ext>
                </a:extLst>
              </p:cNvPr>
              <p:cNvSpPr/>
              <p:nvPr/>
            </p:nvSpPr>
            <p:spPr>
              <a:xfrm>
                <a:off x="6732584" y="3513315"/>
                <a:ext cx="49198" cy="15133"/>
              </a:xfrm>
              <a:custGeom>
                <a:avLst/>
                <a:gdLst>
                  <a:gd name="connsiteX0" fmla="*/ 38759 w 38773"/>
                  <a:gd name="connsiteY0" fmla="*/ 9018 h 11926"/>
                  <a:gd name="connsiteX1" fmla="*/ 21310 w 38773"/>
                  <a:gd name="connsiteY1" fmla="*/ 37 h 11926"/>
                  <a:gd name="connsiteX2" fmla="*/ 12 w 38773"/>
                  <a:gd name="connsiteY2" fmla="*/ 8505 h 11926"/>
                  <a:gd name="connsiteX3" fmla="*/ 7710 w 38773"/>
                  <a:gd name="connsiteY3" fmla="*/ 10815 h 11926"/>
                  <a:gd name="connsiteX4" fmla="*/ 21310 w 38773"/>
                  <a:gd name="connsiteY4" fmla="*/ 7479 h 11926"/>
                  <a:gd name="connsiteX5" fmla="*/ 38759 w 38773"/>
                  <a:gd name="connsiteY5" fmla="*/ 9018 h 11926"/>
                  <a:gd name="connsiteX6" fmla="*/ 38759 w 38773"/>
                  <a:gd name="connsiteY6" fmla="*/ 9018 h 11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773" h="11926">
                    <a:moveTo>
                      <a:pt x="38759" y="9018"/>
                    </a:moveTo>
                    <a:cubicBezTo>
                      <a:pt x="39016" y="7479"/>
                      <a:pt x="35937" y="294"/>
                      <a:pt x="21310" y="37"/>
                    </a:cubicBezTo>
                    <a:cubicBezTo>
                      <a:pt x="6684" y="-476"/>
                      <a:pt x="269" y="4400"/>
                      <a:pt x="12" y="8505"/>
                    </a:cubicBezTo>
                    <a:cubicBezTo>
                      <a:pt x="-244" y="12867"/>
                      <a:pt x="3605" y="12354"/>
                      <a:pt x="7710" y="10815"/>
                    </a:cubicBezTo>
                    <a:cubicBezTo>
                      <a:pt x="11816" y="9018"/>
                      <a:pt x="18231" y="7735"/>
                      <a:pt x="21310" y="7479"/>
                    </a:cubicBezTo>
                    <a:cubicBezTo>
                      <a:pt x="35937" y="6196"/>
                      <a:pt x="37989" y="13637"/>
                      <a:pt x="38759" y="9018"/>
                    </a:cubicBezTo>
                    <a:lnTo>
                      <a:pt x="38759" y="9018"/>
                    </a:lnTo>
                    <a:close/>
                  </a:path>
                </a:pathLst>
              </a:custGeom>
              <a:solidFill>
                <a:srgbClr val="000028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65" name="Grafik 132">
                <a:extLst>
                  <a:ext uri="{FF2B5EF4-FFF2-40B4-BE49-F238E27FC236}">
                    <a16:creationId xmlns:a16="http://schemas.microsoft.com/office/drawing/2014/main" id="{396C8142-A628-4B47-8688-42A72AE031F9}"/>
                  </a:ext>
                </a:extLst>
              </p:cNvPr>
              <p:cNvGrpSpPr/>
              <p:nvPr/>
            </p:nvGrpSpPr>
            <p:grpSpPr>
              <a:xfrm>
                <a:off x="6669434" y="3533223"/>
                <a:ext cx="93771" cy="15303"/>
                <a:chOff x="6497248" y="3686203"/>
                <a:chExt cx="73901" cy="12060"/>
              </a:xfrm>
            </p:grpSpPr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BAD0D70B-0B78-469B-9E8F-CD7E05C6519E}"/>
                    </a:ext>
                  </a:extLst>
                </p:cNvPr>
                <p:cNvSpPr/>
                <p:nvPr/>
              </p:nvSpPr>
              <p:spPr>
                <a:xfrm>
                  <a:off x="6497761" y="3686203"/>
                  <a:ext cx="11803" cy="11803"/>
                </a:xfrm>
                <a:custGeom>
                  <a:avLst/>
                  <a:gdLst>
                    <a:gd name="connsiteX0" fmla="*/ 0 w 11803"/>
                    <a:gd name="connsiteY0" fmla="*/ 5902 h 11803"/>
                    <a:gd name="connsiteX1" fmla="*/ 5902 w 11803"/>
                    <a:gd name="connsiteY1" fmla="*/ 0 h 11803"/>
                    <a:gd name="connsiteX2" fmla="*/ 11804 w 11803"/>
                    <a:gd name="connsiteY2" fmla="*/ 5902 h 11803"/>
                    <a:gd name="connsiteX3" fmla="*/ 5902 w 11803"/>
                    <a:gd name="connsiteY3" fmla="*/ 11804 h 11803"/>
                    <a:gd name="connsiteX4" fmla="*/ 0 w 11803"/>
                    <a:gd name="connsiteY4" fmla="*/ 5902 h 11803"/>
                    <a:gd name="connsiteX5" fmla="*/ 0 w 11803"/>
                    <a:gd name="connsiteY5" fmla="*/ 5902 h 11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803" h="11803">
                      <a:moveTo>
                        <a:pt x="0" y="5902"/>
                      </a:moveTo>
                      <a:cubicBezTo>
                        <a:pt x="0" y="2566"/>
                        <a:pt x="2566" y="0"/>
                        <a:pt x="5902" y="0"/>
                      </a:cubicBezTo>
                      <a:cubicBezTo>
                        <a:pt x="9238" y="0"/>
                        <a:pt x="11804" y="2566"/>
                        <a:pt x="11804" y="5902"/>
                      </a:cubicBezTo>
                      <a:cubicBezTo>
                        <a:pt x="11804" y="9238"/>
                        <a:pt x="9238" y="11804"/>
                        <a:pt x="5902" y="11804"/>
                      </a:cubicBezTo>
                      <a:cubicBezTo>
                        <a:pt x="2823" y="11804"/>
                        <a:pt x="0" y="8981"/>
                        <a:pt x="0" y="5902"/>
                      </a:cubicBezTo>
                      <a:lnTo>
                        <a:pt x="0" y="5902"/>
                      </a:lnTo>
                      <a:close/>
                    </a:path>
                  </a:pathLst>
                </a:custGeom>
                <a:solidFill>
                  <a:srgbClr val="4B3C32"/>
                </a:solidFill>
                <a:ln w="25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ihandform: Form 166">
                  <a:extLst>
                    <a:ext uri="{FF2B5EF4-FFF2-40B4-BE49-F238E27FC236}">
                      <a16:creationId xmlns:a16="http://schemas.microsoft.com/office/drawing/2014/main" id="{01A731A1-CCCB-4CD9-8169-0F0086B0FCB6}"/>
                    </a:ext>
                  </a:extLst>
                </p:cNvPr>
                <p:cNvSpPr/>
                <p:nvPr/>
              </p:nvSpPr>
              <p:spPr>
                <a:xfrm>
                  <a:off x="6559346" y="3686460"/>
                  <a:ext cx="11803" cy="11803"/>
                </a:xfrm>
                <a:custGeom>
                  <a:avLst/>
                  <a:gdLst>
                    <a:gd name="connsiteX0" fmla="*/ 0 w 11803"/>
                    <a:gd name="connsiteY0" fmla="*/ 5902 h 11803"/>
                    <a:gd name="connsiteX1" fmla="*/ 5902 w 11803"/>
                    <a:gd name="connsiteY1" fmla="*/ 0 h 11803"/>
                    <a:gd name="connsiteX2" fmla="*/ 11804 w 11803"/>
                    <a:gd name="connsiteY2" fmla="*/ 5902 h 11803"/>
                    <a:gd name="connsiteX3" fmla="*/ 5902 w 11803"/>
                    <a:gd name="connsiteY3" fmla="*/ 11804 h 11803"/>
                    <a:gd name="connsiteX4" fmla="*/ 0 w 11803"/>
                    <a:gd name="connsiteY4" fmla="*/ 5902 h 11803"/>
                    <a:gd name="connsiteX5" fmla="*/ 0 w 11803"/>
                    <a:gd name="connsiteY5" fmla="*/ 5902 h 11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803" h="11803">
                      <a:moveTo>
                        <a:pt x="0" y="5902"/>
                      </a:moveTo>
                      <a:cubicBezTo>
                        <a:pt x="0" y="2566"/>
                        <a:pt x="2566" y="0"/>
                        <a:pt x="5902" y="0"/>
                      </a:cubicBezTo>
                      <a:cubicBezTo>
                        <a:pt x="9238" y="0"/>
                        <a:pt x="11804" y="2566"/>
                        <a:pt x="11804" y="5902"/>
                      </a:cubicBezTo>
                      <a:cubicBezTo>
                        <a:pt x="11804" y="9238"/>
                        <a:pt x="9238" y="11804"/>
                        <a:pt x="5902" y="11804"/>
                      </a:cubicBezTo>
                      <a:cubicBezTo>
                        <a:pt x="2823" y="11804"/>
                        <a:pt x="0" y="8981"/>
                        <a:pt x="0" y="5902"/>
                      </a:cubicBezTo>
                      <a:lnTo>
                        <a:pt x="0" y="5902"/>
                      </a:lnTo>
                      <a:close/>
                    </a:path>
                  </a:pathLst>
                </a:custGeom>
                <a:solidFill>
                  <a:srgbClr val="4B3C32"/>
                </a:solidFill>
                <a:ln w="25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ihandform: Form 167">
                  <a:extLst>
                    <a:ext uri="{FF2B5EF4-FFF2-40B4-BE49-F238E27FC236}">
                      <a16:creationId xmlns:a16="http://schemas.microsoft.com/office/drawing/2014/main" id="{C58E1ABB-634B-40DB-BFCB-4DE9963F99E8}"/>
                    </a:ext>
                  </a:extLst>
                </p:cNvPr>
                <p:cNvSpPr/>
                <p:nvPr/>
              </p:nvSpPr>
              <p:spPr>
                <a:xfrm>
                  <a:off x="6497248" y="3689795"/>
                  <a:ext cx="4618" cy="3592"/>
                </a:xfrm>
                <a:custGeom>
                  <a:avLst/>
                  <a:gdLst>
                    <a:gd name="connsiteX0" fmla="*/ 0 w 4618"/>
                    <a:gd name="connsiteY0" fmla="*/ 1796 h 3592"/>
                    <a:gd name="connsiteX1" fmla="*/ 2309 w 4618"/>
                    <a:gd name="connsiteY1" fmla="*/ 3592 h 3592"/>
                    <a:gd name="connsiteX2" fmla="*/ 4619 w 4618"/>
                    <a:gd name="connsiteY2" fmla="*/ 1796 h 3592"/>
                    <a:gd name="connsiteX3" fmla="*/ 2309 w 4618"/>
                    <a:gd name="connsiteY3" fmla="*/ 0 h 3592"/>
                    <a:gd name="connsiteX4" fmla="*/ 0 w 4618"/>
                    <a:gd name="connsiteY4" fmla="*/ 1796 h 3592"/>
                    <a:gd name="connsiteX5" fmla="*/ 0 w 4618"/>
                    <a:gd name="connsiteY5" fmla="*/ 1796 h 3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618" h="3592">
                      <a:moveTo>
                        <a:pt x="0" y="1796"/>
                      </a:moveTo>
                      <a:cubicBezTo>
                        <a:pt x="0" y="2823"/>
                        <a:pt x="1026" y="3592"/>
                        <a:pt x="2309" y="3592"/>
                      </a:cubicBezTo>
                      <a:cubicBezTo>
                        <a:pt x="3592" y="3592"/>
                        <a:pt x="4619" y="2823"/>
                        <a:pt x="4619" y="1796"/>
                      </a:cubicBezTo>
                      <a:cubicBezTo>
                        <a:pt x="4619" y="770"/>
                        <a:pt x="3592" y="0"/>
                        <a:pt x="2309" y="0"/>
                      </a:cubicBezTo>
                      <a:cubicBezTo>
                        <a:pt x="1026" y="0"/>
                        <a:pt x="0" y="770"/>
                        <a:pt x="0" y="1796"/>
                      </a:cubicBezTo>
                      <a:lnTo>
                        <a:pt x="0" y="1796"/>
                      </a:lnTo>
                      <a:close/>
                    </a:path>
                  </a:pathLst>
                </a:custGeom>
                <a:solidFill>
                  <a:srgbClr val="F5F5EF"/>
                </a:solidFill>
                <a:ln w="25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Freihandform: Form 168">
                  <a:extLst>
                    <a:ext uri="{FF2B5EF4-FFF2-40B4-BE49-F238E27FC236}">
                      <a16:creationId xmlns:a16="http://schemas.microsoft.com/office/drawing/2014/main" id="{EE5E1521-1DD1-4E4D-9D48-8A6814CE6D61}"/>
                    </a:ext>
                  </a:extLst>
                </p:cNvPr>
                <p:cNvSpPr/>
                <p:nvPr/>
              </p:nvSpPr>
              <p:spPr>
                <a:xfrm>
                  <a:off x="6558319" y="3689795"/>
                  <a:ext cx="4618" cy="3592"/>
                </a:xfrm>
                <a:custGeom>
                  <a:avLst/>
                  <a:gdLst>
                    <a:gd name="connsiteX0" fmla="*/ 0 w 4618"/>
                    <a:gd name="connsiteY0" fmla="*/ 1796 h 3592"/>
                    <a:gd name="connsiteX1" fmla="*/ 2309 w 4618"/>
                    <a:gd name="connsiteY1" fmla="*/ 3592 h 3592"/>
                    <a:gd name="connsiteX2" fmla="*/ 4619 w 4618"/>
                    <a:gd name="connsiteY2" fmla="*/ 1796 h 3592"/>
                    <a:gd name="connsiteX3" fmla="*/ 2309 w 4618"/>
                    <a:gd name="connsiteY3" fmla="*/ 0 h 3592"/>
                    <a:gd name="connsiteX4" fmla="*/ 0 w 4618"/>
                    <a:gd name="connsiteY4" fmla="*/ 1796 h 3592"/>
                    <a:gd name="connsiteX5" fmla="*/ 0 w 4618"/>
                    <a:gd name="connsiteY5" fmla="*/ 1796 h 3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618" h="3592">
                      <a:moveTo>
                        <a:pt x="0" y="1796"/>
                      </a:moveTo>
                      <a:cubicBezTo>
                        <a:pt x="0" y="2823"/>
                        <a:pt x="1026" y="3592"/>
                        <a:pt x="2309" y="3592"/>
                      </a:cubicBezTo>
                      <a:cubicBezTo>
                        <a:pt x="3592" y="3592"/>
                        <a:pt x="4619" y="2823"/>
                        <a:pt x="4619" y="1796"/>
                      </a:cubicBezTo>
                      <a:cubicBezTo>
                        <a:pt x="4619" y="770"/>
                        <a:pt x="3592" y="0"/>
                        <a:pt x="2309" y="0"/>
                      </a:cubicBezTo>
                      <a:cubicBezTo>
                        <a:pt x="1026" y="0"/>
                        <a:pt x="0" y="770"/>
                        <a:pt x="0" y="1796"/>
                      </a:cubicBezTo>
                      <a:lnTo>
                        <a:pt x="0" y="1796"/>
                      </a:lnTo>
                      <a:close/>
                    </a:path>
                  </a:pathLst>
                </a:custGeom>
                <a:solidFill>
                  <a:srgbClr val="F5F5EF"/>
                </a:solidFill>
                <a:ln w="25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09314DC4-EF6D-44D7-8F36-78E334E445A4}"/>
                  </a:ext>
                </a:extLst>
              </p:cNvPr>
              <p:cNvSpPr/>
              <p:nvPr/>
            </p:nvSpPr>
            <p:spPr>
              <a:xfrm>
                <a:off x="6632966" y="3791747"/>
                <a:ext cx="79445" cy="154983"/>
              </a:xfrm>
              <a:custGeom>
                <a:avLst/>
                <a:gdLst>
                  <a:gd name="connsiteX0" fmla="*/ 62611 w 62611"/>
                  <a:gd name="connsiteY0" fmla="*/ 0 h 122142"/>
                  <a:gd name="connsiteX1" fmla="*/ 62611 w 62611"/>
                  <a:gd name="connsiteY1" fmla="*/ 122143 h 122142"/>
                  <a:gd name="connsiteX2" fmla="*/ 61585 w 62611"/>
                  <a:gd name="connsiteY2" fmla="*/ 122143 h 122142"/>
                  <a:gd name="connsiteX3" fmla="*/ 49524 w 62611"/>
                  <a:gd name="connsiteY3" fmla="*/ 121629 h 122142"/>
                  <a:gd name="connsiteX4" fmla="*/ 0 w 62611"/>
                  <a:gd name="connsiteY4" fmla="*/ 113931 h 122142"/>
                  <a:gd name="connsiteX5" fmla="*/ 0 w 62611"/>
                  <a:gd name="connsiteY5" fmla="*/ 0 h 122142"/>
                  <a:gd name="connsiteX6" fmla="*/ 62611 w 62611"/>
                  <a:gd name="connsiteY6" fmla="*/ 0 h 122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611" h="122142">
                    <a:moveTo>
                      <a:pt x="62611" y="0"/>
                    </a:moveTo>
                    <a:lnTo>
                      <a:pt x="62611" y="122143"/>
                    </a:lnTo>
                    <a:cubicBezTo>
                      <a:pt x="62355" y="122143"/>
                      <a:pt x="61841" y="122143"/>
                      <a:pt x="61585" y="122143"/>
                    </a:cubicBezTo>
                    <a:cubicBezTo>
                      <a:pt x="57479" y="122143"/>
                      <a:pt x="53373" y="121886"/>
                      <a:pt x="49524" y="121629"/>
                    </a:cubicBezTo>
                    <a:cubicBezTo>
                      <a:pt x="32589" y="120603"/>
                      <a:pt x="15909" y="118037"/>
                      <a:pt x="0" y="113931"/>
                    </a:cubicBezTo>
                    <a:lnTo>
                      <a:pt x="0" y="0"/>
                    </a:lnTo>
                    <a:lnTo>
                      <a:pt x="62611" y="0"/>
                    </a:lnTo>
                    <a:close/>
                  </a:path>
                </a:pathLst>
              </a:custGeom>
              <a:solidFill>
                <a:srgbClr val="F3F3F0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ACC048BA-BFC5-445F-ADD9-CD1EBC421B2E}"/>
                  </a:ext>
                </a:extLst>
              </p:cNvPr>
              <p:cNvSpPr/>
              <p:nvPr/>
            </p:nvSpPr>
            <p:spPr>
              <a:xfrm>
                <a:off x="6710784" y="3791747"/>
                <a:ext cx="79770" cy="154983"/>
              </a:xfrm>
              <a:custGeom>
                <a:avLst/>
                <a:gdLst>
                  <a:gd name="connsiteX0" fmla="*/ 62868 w 62867"/>
                  <a:gd name="connsiteY0" fmla="*/ 0 h 122142"/>
                  <a:gd name="connsiteX1" fmla="*/ 62868 w 62867"/>
                  <a:gd name="connsiteY1" fmla="*/ 114958 h 122142"/>
                  <a:gd name="connsiteX2" fmla="*/ 12574 w 62867"/>
                  <a:gd name="connsiteY2" fmla="*/ 121886 h 122142"/>
                  <a:gd name="connsiteX3" fmla="*/ 2309 w 62867"/>
                  <a:gd name="connsiteY3" fmla="*/ 122143 h 122142"/>
                  <a:gd name="connsiteX4" fmla="*/ 1026 w 62867"/>
                  <a:gd name="connsiteY4" fmla="*/ 122143 h 122142"/>
                  <a:gd name="connsiteX5" fmla="*/ 0 w 62867"/>
                  <a:gd name="connsiteY5" fmla="*/ 122143 h 122142"/>
                  <a:gd name="connsiteX6" fmla="*/ 0 w 62867"/>
                  <a:gd name="connsiteY6" fmla="*/ 0 h 122142"/>
                  <a:gd name="connsiteX7" fmla="*/ 62868 w 62867"/>
                  <a:gd name="connsiteY7" fmla="*/ 0 h 122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67" h="122142">
                    <a:moveTo>
                      <a:pt x="62868" y="0"/>
                    </a:moveTo>
                    <a:lnTo>
                      <a:pt x="62868" y="114958"/>
                    </a:lnTo>
                    <a:cubicBezTo>
                      <a:pt x="46702" y="118807"/>
                      <a:pt x="29766" y="121116"/>
                      <a:pt x="12574" y="121886"/>
                    </a:cubicBezTo>
                    <a:cubicBezTo>
                      <a:pt x="9238" y="121886"/>
                      <a:pt x="5902" y="122143"/>
                      <a:pt x="2309" y="122143"/>
                    </a:cubicBezTo>
                    <a:cubicBezTo>
                      <a:pt x="1796" y="122143"/>
                      <a:pt x="1540" y="122143"/>
                      <a:pt x="1026" y="122143"/>
                    </a:cubicBezTo>
                    <a:cubicBezTo>
                      <a:pt x="770" y="122143"/>
                      <a:pt x="257" y="122143"/>
                      <a:pt x="0" y="122143"/>
                    </a:cubicBezTo>
                    <a:lnTo>
                      <a:pt x="0" y="0"/>
                    </a:lnTo>
                    <a:lnTo>
                      <a:pt x="62868" y="0"/>
                    </a:lnTo>
                    <a:close/>
                  </a:path>
                </a:pathLst>
              </a:custGeom>
              <a:solidFill>
                <a:schemeClr val="bg1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2" name="Grafik 132">
                <a:extLst>
                  <a:ext uri="{FF2B5EF4-FFF2-40B4-BE49-F238E27FC236}">
                    <a16:creationId xmlns:a16="http://schemas.microsoft.com/office/drawing/2014/main" id="{396C8142-A628-4B47-8688-42A72AE031F9}"/>
                  </a:ext>
                </a:extLst>
              </p:cNvPr>
              <p:cNvGrpSpPr/>
              <p:nvPr/>
            </p:nvGrpSpPr>
            <p:grpSpPr>
              <a:xfrm>
                <a:off x="6479610" y="3726302"/>
                <a:ext cx="469184" cy="220428"/>
                <a:chOff x="6347648" y="3838368"/>
                <a:chExt cx="369764" cy="173719"/>
              </a:xfrm>
              <a:solidFill>
                <a:srgbClr val="3C464B"/>
              </a:solidFill>
            </p:grpSpPr>
            <p:sp>
              <p:nvSpPr>
                <p:cNvPr id="173" name="Freihandform: Form 172">
                  <a:extLst>
                    <a:ext uri="{FF2B5EF4-FFF2-40B4-BE49-F238E27FC236}">
                      <a16:creationId xmlns:a16="http://schemas.microsoft.com/office/drawing/2014/main" id="{49189489-47DD-4959-98DE-1EC52455400B}"/>
                    </a:ext>
                  </a:extLst>
                </p:cNvPr>
                <p:cNvSpPr/>
                <p:nvPr/>
              </p:nvSpPr>
              <p:spPr>
                <a:xfrm>
                  <a:off x="6347648" y="3838625"/>
                  <a:ext cx="170384" cy="172949"/>
                </a:xfrm>
                <a:custGeom>
                  <a:avLst/>
                  <a:gdLst>
                    <a:gd name="connsiteX0" fmla="*/ 170384 w 170384"/>
                    <a:gd name="connsiteY0" fmla="*/ 172950 h 172949"/>
                    <a:gd name="connsiteX1" fmla="*/ 120860 w 170384"/>
                    <a:gd name="connsiteY1" fmla="*/ 165252 h 172949"/>
                    <a:gd name="connsiteX2" fmla="*/ 118551 w 170384"/>
                    <a:gd name="connsiteY2" fmla="*/ 164739 h 172949"/>
                    <a:gd name="connsiteX3" fmla="*/ 115215 w 170384"/>
                    <a:gd name="connsiteY3" fmla="*/ 163712 h 172949"/>
                    <a:gd name="connsiteX4" fmla="*/ 48755 w 170384"/>
                    <a:gd name="connsiteY4" fmla="*/ 134459 h 172949"/>
                    <a:gd name="connsiteX5" fmla="*/ 47215 w 170384"/>
                    <a:gd name="connsiteY5" fmla="*/ 133433 h 172949"/>
                    <a:gd name="connsiteX6" fmla="*/ 8211 w 170384"/>
                    <a:gd name="connsiteY6" fmla="*/ 102897 h 172949"/>
                    <a:gd name="connsiteX7" fmla="*/ 5902 w 170384"/>
                    <a:gd name="connsiteY7" fmla="*/ 100588 h 172949"/>
                    <a:gd name="connsiteX8" fmla="*/ 0 w 170384"/>
                    <a:gd name="connsiteY8" fmla="*/ 94686 h 172949"/>
                    <a:gd name="connsiteX9" fmla="*/ 13600 w 170384"/>
                    <a:gd name="connsiteY9" fmla="*/ 60301 h 172949"/>
                    <a:gd name="connsiteX10" fmla="*/ 13600 w 170384"/>
                    <a:gd name="connsiteY10" fmla="*/ 60301 h 172949"/>
                    <a:gd name="connsiteX11" fmla="*/ 94173 w 170384"/>
                    <a:gd name="connsiteY11" fmla="*/ 26943 h 172949"/>
                    <a:gd name="connsiteX12" fmla="*/ 94430 w 170384"/>
                    <a:gd name="connsiteY12" fmla="*/ 25404 h 172949"/>
                    <a:gd name="connsiteX13" fmla="*/ 125222 w 170384"/>
                    <a:gd name="connsiteY13" fmla="*/ 0 h 172949"/>
                    <a:gd name="connsiteX14" fmla="*/ 126505 w 170384"/>
                    <a:gd name="connsiteY14" fmla="*/ 5132 h 172949"/>
                    <a:gd name="connsiteX15" fmla="*/ 137026 w 170384"/>
                    <a:gd name="connsiteY15" fmla="*/ 44392 h 172949"/>
                    <a:gd name="connsiteX16" fmla="*/ 138822 w 170384"/>
                    <a:gd name="connsiteY16" fmla="*/ 51320 h 172949"/>
                    <a:gd name="connsiteX17" fmla="*/ 140618 w 170384"/>
                    <a:gd name="connsiteY17" fmla="*/ 57735 h 172949"/>
                    <a:gd name="connsiteX18" fmla="*/ 170384 w 170384"/>
                    <a:gd name="connsiteY18" fmla="*/ 172950 h 172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0384" h="172949">
                      <a:moveTo>
                        <a:pt x="170384" y="172950"/>
                      </a:moveTo>
                      <a:cubicBezTo>
                        <a:pt x="153449" y="171923"/>
                        <a:pt x="136769" y="169357"/>
                        <a:pt x="120860" y="165252"/>
                      </a:cubicBezTo>
                      <a:cubicBezTo>
                        <a:pt x="120090" y="164995"/>
                        <a:pt x="119320" y="164739"/>
                        <a:pt x="118551" y="164739"/>
                      </a:cubicBezTo>
                      <a:cubicBezTo>
                        <a:pt x="117524" y="164482"/>
                        <a:pt x="116498" y="164225"/>
                        <a:pt x="115215" y="163712"/>
                      </a:cubicBezTo>
                      <a:cubicBezTo>
                        <a:pt x="91351" y="157040"/>
                        <a:pt x="69026" y="147033"/>
                        <a:pt x="48755" y="134459"/>
                      </a:cubicBezTo>
                      <a:cubicBezTo>
                        <a:pt x="48241" y="134203"/>
                        <a:pt x="47728" y="133690"/>
                        <a:pt x="47215" y="133433"/>
                      </a:cubicBezTo>
                      <a:cubicBezTo>
                        <a:pt x="33358" y="124709"/>
                        <a:pt x="20015" y="114445"/>
                        <a:pt x="8211" y="102897"/>
                      </a:cubicBezTo>
                      <a:cubicBezTo>
                        <a:pt x="7441" y="102128"/>
                        <a:pt x="6672" y="101358"/>
                        <a:pt x="5902" y="100588"/>
                      </a:cubicBezTo>
                      <a:cubicBezTo>
                        <a:pt x="3849" y="98535"/>
                        <a:pt x="2053" y="96739"/>
                        <a:pt x="0" y="94686"/>
                      </a:cubicBezTo>
                      <a:cubicBezTo>
                        <a:pt x="2823" y="75184"/>
                        <a:pt x="7185" y="60558"/>
                        <a:pt x="13600" y="60301"/>
                      </a:cubicBezTo>
                      <a:lnTo>
                        <a:pt x="13600" y="60301"/>
                      </a:lnTo>
                      <a:lnTo>
                        <a:pt x="94173" y="26943"/>
                      </a:lnTo>
                      <a:cubicBezTo>
                        <a:pt x="94173" y="26430"/>
                        <a:pt x="94430" y="25917"/>
                        <a:pt x="94430" y="25404"/>
                      </a:cubicBezTo>
                      <a:lnTo>
                        <a:pt x="125222" y="0"/>
                      </a:lnTo>
                      <a:cubicBezTo>
                        <a:pt x="125222" y="0"/>
                        <a:pt x="125735" y="1796"/>
                        <a:pt x="126505" y="5132"/>
                      </a:cubicBezTo>
                      <a:cubicBezTo>
                        <a:pt x="128558" y="12317"/>
                        <a:pt x="132151" y="26430"/>
                        <a:pt x="137026" y="44392"/>
                      </a:cubicBezTo>
                      <a:cubicBezTo>
                        <a:pt x="137539" y="46702"/>
                        <a:pt x="138309" y="49011"/>
                        <a:pt x="138822" y="51320"/>
                      </a:cubicBezTo>
                      <a:cubicBezTo>
                        <a:pt x="139335" y="53373"/>
                        <a:pt x="139849" y="55426"/>
                        <a:pt x="140618" y="57735"/>
                      </a:cubicBezTo>
                      <a:cubicBezTo>
                        <a:pt x="149343" y="91350"/>
                        <a:pt x="160633" y="134716"/>
                        <a:pt x="170384" y="17295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25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2E3F3105-D521-48E9-84FF-0512C6D4B2D9}"/>
                    </a:ext>
                  </a:extLst>
                </p:cNvPr>
                <p:cNvSpPr/>
                <p:nvPr/>
              </p:nvSpPr>
              <p:spPr>
                <a:xfrm>
                  <a:off x="6542410" y="3838368"/>
                  <a:ext cx="175003" cy="173719"/>
                </a:xfrm>
                <a:custGeom>
                  <a:avLst/>
                  <a:gdLst>
                    <a:gd name="connsiteX0" fmla="*/ 175003 w 175003"/>
                    <a:gd name="connsiteY0" fmla="*/ 94943 h 173719"/>
                    <a:gd name="connsiteX1" fmla="*/ 170641 w 175003"/>
                    <a:gd name="connsiteY1" fmla="*/ 99305 h 173719"/>
                    <a:gd name="connsiteX2" fmla="*/ 164739 w 175003"/>
                    <a:gd name="connsiteY2" fmla="*/ 104950 h 173719"/>
                    <a:gd name="connsiteX3" fmla="*/ 126762 w 175003"/>
                    <a:gd name="connsiteY3" fmla="*/ 134203 h 173719"/>
                    <a:gd name="connsiteX4" fmla="*/ 121886 w 175003"/>
                    <a:gd name="connsiteY4" fmla="*/ 137282 h 173719"/>
                    <a:gd name="connsiteX5" fmla="*/ 50294 w 175003"/>
                    <a:gd name="connsiteY5" fmla="*/ 166791 h 173719"/>
                    <a:gd name="connsiteX6" fmla="*/ 0 w 175003"/>
                    <a:gd name="connsiteY6" fmla="*/ 173720 h 173719"/>
                    <a:gd name="connsiteX7" fmla="*/ 27713 w 175003"/>
                    <a:gd name="connsiteY7" fmla="*/ 58249 h 173719"/>
                    <a:gd name="connsiteX8" fmla="*/ 29253 w 175003"/>
                    <a:gd name="connsiteY8" fmla="*/ 51834 h 173719"/>
                    <a:gd name="connsiteX9" fmla="*/ 30792 w 175003"/>
                    <a:gd name="connsiteY9" fmla="*/ 45162 h 173719"/>
                    <a:gd name="connsiteX10" fmla="*/ 41313 w 175003"/>
                    <a:gd name="connsiteY10" fmla="*/ 3079 h 173719"/>
                    <a:gd name="connsiteX11" fmla="*/ 42083 w 175003"/>
                    <a:gd name="connsiteY11" fmla="*/ 0 h 173719"/>
                    <a:gd name="connsiteX12" fmla="*/ 54656 w 175003"/>
                    <a:gd name="connsiteY12" fmla="*/ 8981 h 173719"/>
                    <a:gd name="connsiteX13" fmla="*/ 55939 w 175003"/>
                    <a:gd name="connsiteY13" fmla="*/ 9751 h 173719"/>
                    <a:gd name="connsiteX14" fmla="*/ 75954 w 175003"/>
                    <a:gd name="connsiteY14" fmla="*/ 23864 h 173719"/>
                    <a:gd name="connsiteX15" fmla="*/ 76211 w 175003"/>
                    <a:gd name="connsiteY15" fmla="*/ 25660 h 173719"/>
                    <a:gd name="connsiteX16" fmla="*/ 160890 w 175003"/>
                    <a:gd name="connsiteY16" fmla="*/ 60815 h 173719"/>
                    <a:gd name="connsiteX17" fmla="*/ 160890 w 175003"/>
                    <a:gd name="connsiteY17" fmla="*/ 60815 h 173719"/>
                    <a:gd name="connsiteX18" fmla="*/ 175003 w 175003"/>
                    <a:gd name="connsiteY18" fmla="*/ 94943 h 173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5003" h="173719">
                      <a:moveTo>
                        <a:pt x="175003" y="94943"/>
                      </a:moveTo>
                      <a:cubicBezTo>
                        <a:pt x="173464" y="96482"/>
                        <a:pt x="172181" y="98022"/>
                        <a:pt x="170641" y="99305"/>
                      </a:cubicBezTo>
                      <a:cubicBezTo>
                        <a:pt x="168845" y="101358"/>
                        <a:pt x="166792" y="103154"/>
                        <a:pt x="164739" y="104950"/>
                      </a:cubicBezTo>
                      <a:cubicBezTo>
                        <a:pt x="152935" y="115984"/>
                        <a:pt x="140362" y="125735"/>
                        <a:pt x="126762" y="134203"/>
                      </a:cubicBezTo>
                      <a:cubicBezTo>
                        <a:pt x="125222" y="135229"/>
                        <a:pt x="123683" y="136256"/>
                        <a:pt x="121886" y="137282"/>
                      </a:cubicBezTo>
                      <a:cubicBezTo>
                        <a:pt x="99819" y="150625"/>
                        <a:pt x="75698" y="160633"/>
                        <a:pt x="50294" y="166791"/>
                      </a:cubicBezTo>
                      <a:cubicBezTo>
                        <a:pt x="34128" y="170640"/>
                        <a:pt x="17192" y="172950"/>
                        <a:pt x="0" y="173720"/>
                      </a:cubicBezTo>
                      <a:cubicBezTo>
                        <a:pt x="8211" y="137795"/>
                        <a:pt x="19245" y="93147"/>
                        <a:pt x="27713" y="58249"/>
                      </a:cubicBezTo>
                      <a:cubicBezTo>
                        <a:pt x="28226" y="56196"/>
                        <a:pt x="28740" y="53886"/>
                        <a:pt x="29253" y="51834"/>
                      </a:cubicBezTo>
                      <a:cubicBezTo>
                        <a:pt x="29766" y="49524"/>
                        <a:pt x="30279" y="47215"/>
                        <a:pt x="30792" y="45162"/>
                      </a:cubicBezTo>
                      <a:cubicBezTo>
                        <a:pt x="35924" y="24890"/>
                        <a:pt x="39773" y="9238"/>
                        <a:pt x="41313" y="3079"/>
                      </a:cubicBezTo>
                      <a:cubicBezTo>
                        <a:pt x="41826" y="1026"/>
                        <a:pt x="42083" y="0"/>
                        <a:pt x="42083" y="0"/>
                      </a:cubicBezTo>
                      <a:lnTo>
                        <a:pt x="54656" y="8981"/>
                      </a:lnTo>
                      <a:lnTo>
                        <a:pt x="55939" y="9751"/>
                      </a:lnTo>
                      <a:lnTo>
                        <a:pt x="75954" y="23864"/>
                      </a:lnTo>
                      <a:cubicBezTo>
                        <a:pt x="75954" y="24377"/>
                        <a:pt x="76211" y="24890"/>
                        <a:pt x="76211" y="25660"/>
                      </a:cubicBezTo>
                      <a:lnTo>
                        <a:pt x="160890" y="60815"/>
                      </a:lnTo>
                      <a:lnTo>
                        <a:pt x="160890" y="60815"/>
                      </a:lnTo>
                      <a:cubicBezTo>
                        <a:pt x="167562" y="60815"/>
                        <a:pt x="172181" y="75441"/>
                        <a:pt x="175003" y="94943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25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80862009-86D2-4709-B19D-9FE953616DE1}"/>
                  </a:ext>
                </a:extLst>
              </p:cNvPr>
              <p:cNvSpPr/>
              <p:nvPr/>
            </p:nvSpPr>
            <p:spPr>
              <a:xfrm>
                <a:off x="6589337" y="3768955"/>
                <a:ext cx="40699" cy="166705"/>
              </a:xfrm>
              <a:custGeom>
                <a:avLst/>
                <a:gdLst>
                  <a:gd name="connsiteX0" fmla="*/ 32075 w 32075"/>
                  <a:gd name="connsiteY0" fmla="*/ 131380 h 131380"/>
                  <a:gd name="connsiteX1" fmla="*/ 28740 w 32075"/>
                  <a:gd name="connsiteY1" fmla="*/ 130354 h 131380"/>
                  <a:gd name="connsiteX2" fmla="*/ 257 w 32075"/>
                  <a:gd name="connsiteY2" fmla="*/ 48498 h 131380"/>
                  <a:gd name="connsiteX3" fmla="*/ 0 w 32075"/>
                  <a:gd name="connsiteY3" fmla="*/ 47728 h 131380"/>
                  <a:gd name="connsiteX4" fmla="*/ 16679 w 32075"/>
                  <a:gd name="connsiteY4" fmla="*/ 32845 h 131380"/>
                  <a:gd name="connsiteX5" fmla="*/ 0 w 32075"/>
                  <a:gd name="connsiteY5" fmla="*/ 28483 h 131380"/>
                  <a:gd name="connsiteX6" fmla="*/ 3849 w 32075"/>
                  <a:gd name="connsiteY6" fmla="*/ 0 h 131380"/>
                  <a:gd name="connsiteX7" fmla="*/ 6415 w 32075"/>
                  <a:gd name="connsiteY7" fmla="*/ 257 h 131380"/>
                  <a:gd name="connsiteX8" fmla="*/ 2823 w 32075"/>
                  <a:gd name="connsiteY8" fmla="*/ 26430 h 131380"/>
                  <a:gd name="connsiteX9" fmla="*/ 22068 w 32075"/>
                  <a:gd name="connsiteY9" fmla="*/ 31562 h 131380"/>
                  <a:gd name="connsiteX10" fmla="*/ 3079 w 32075"/>
                  <a:gd name="connsiteY10" fmla="*/ 48498 h 131380"/>
                  <a:gd name="connsiteX11" fmla="*/ 32075 w 32075"/>
                  <a:gd name="connsiteY11" fmla="*/ 131380 h 131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075" h="131380">
                    <a:moveTo>
                      <a:pt x="32075" y="131380"/>
                    </a:moveTo>
                    <a:cubicBezTo>
                      <a:pt x="31049" y="131124"/>
                      <a:pt x="30023" y="130867"/>
                      <a:pt x="28740" y="130354"/>
                    </a:cubicBezTo>
                    <a:cubicBezTo>
                      <a:pt x="17192" y="104950"/>
                      <a:pt x="7698" y="77494"/>
                      <a:pt x="257" y="48498"/>
                    </a:cubicBezTo>
                    <a:lnTo>
                      <a:pt x="0" y="47728"/>
                    </a:lnTo>
                    <a:lnTo>
                      <a:pt x="16679" y="32845"/>
                    </a:lnTo>
                    <a:lnTo>
                      <a:pt x="0" y="28483"/>
                    </a:lnTo>
                    <a:lnTo>
                      <a:pt x="3849" y="0"/>
                    </a:lnTo>
                    <a:lnTo>
                      <a:pt x="6415" y="257"/>
                    </a:lnTo>
                    <a:lnTo>
                      <a:pt x="2823" y="26430"/>
                    </a:lnTo>
                    <a:lnTo>
                      <a:pt x="22068" y="31562"/>
                    </a:lnTo>
                    <a:lnTo>
                      <a:pt x="3079" y="48498"/>
                    </a:lnTo>
                    <a:cubicBezTo>
                      <a:pt x="10521" y="78007"/>
                      <a:pt x="20272" y="105720"/>
                      <a:pt x="32075" y="13138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06A3E761-272E-4EF0-B908-3C024E2CD8E9}"/>
                  </a:ext>
                </a:extLst>
              </p:cNvPr>
              <p:cNvSpPr/>
              <p:nvPr/>
            </p:nvSpPr>
            <p:spPr>
              <a:xfrm>
                <a:off x="6785671" y="3772536"/>
                <a:ext cx="47862" cy="159541"/>
              </a:xfrm>
              <a:custGeom>
                <a:avLst/>
                <a:gdLst>
                  <a:gd name="connsiteX0" fmla="*/ 2309 w 37720"/>
                  <a:gd name="connsiteY0" fmla="*/ 125735 h 125734"/>
                  <a:gd name="connsiteX1" fmla="*/ 0 w 37720"/>
                  <a:gd name="connsiteY1" fmla="*/ 124452 h 125734"/>
                  <a:gd name="connsiteX2" fmla="*/ 34641 w 37720"/>
                  <a:gd name="connsiteY2" fmla="*/ 41570 h 125734"/>
                  <a:gd name="connsiteX3" fmla="*/ 12060 w 37720"/>
                  <a:gd name="connsiteY3" fmla="*/ 25404 h 125734"/>
                  <a:gd name="connsiteX4" fmla="*/ 34641 w 37720"/>
                  <a:gd name="connsiteY4" fmla="*/ 23351 h 125734"/>
                  <a:gd name="connsiteX5" fmla="*/ 31049 w 37720"/>
                  <a:gd name="connsiteY5" fmla="*/ 513 h 125734"/>
                  <a:gd name="connsiteX6" fmla="*/ 33615 w 37720"/>
                  <a:gd name="connsiteY6" fmla="*/ 0 h 125734"/>
                  <a:gd name="connsiteX7" fmla="*/ 37721 w 37720"/>
                  <a:gd name="connsiteY7" fmla="*/ 25660 h 125734"/>
                  <a:gd name="connsiteX8" fmla="*/ 19245 w 37720"/>
                  <a:gd name="connsiteY8" fmla="*/ 27456 h 125734"/>
                  <a:gd name="connsiteX9" fmla="*/ 37464 w 37720"/>
                  <a:gd name="connsiteY9" fmla="*/ 40543 h 125734"/>
                  <a:gd name="connsiteX10" fmla="*/ 37207 w 37720"/>
                  <a:gd name="connsiteY10" fmla="*/ 41313 h 125734"/>
                  <a:gd name="connsiteX11" fmla="*/ 2309 w 37720"/>
                  <a:gd name="connsiteY11" fmla="*/ 125735 h 12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720" h="125734">
                    <a:moveTo>
                      <a:pt x="2309" y="125735"/>
                    </a:moveTo>
                    <a:lnTo>
                      <a:pt x="0" y="124452"/>
                    </a:lnTo>
                    <a:cubicBezTo>
                      <a:pt x="14113" y="95713"/>
                      <a:pt x="31306" y="58249"/>
                      <a:pt x="34641" y="41570"/>
                    </a:cubicBezTo>
                    <a:lnTo>
                      <a:pt x="12060" y="25404"/>
                    </a:lnTo>
                    <a:lnTo>
                      <a:pt x="34641" y="23351"/>
                    </a:lnTo>
                    <a:lnTo>
                      <a:pt x="31049" y="513"/>
                    </a:lnTo>
                    <a:lnTo>
                      <a:pt x="33615" y="0"/>
                    </a:lnTo>
                    <a:lnTo>
                      <a:pt x="37721" y="25660"/>
                    </a:lnTo>
                    <a:lnTo>
                      <a:pt x="19245" y="27456"/>
                    </a:lnTo>
                    <a:lnTo>
                      <a:pt x="37464" y="40543"/>
                    </a:lnTo>
                    <a:lnTo>
                      <a:pt x="37207" y="41313"/>
                    </a:lnTo>
                    <a:cubicBezTo>
                      <a:pt x="34385" y="57992"/>
                      <a:pt x="16679" y="96482"/>
                      <a:pt x="2309" y="125735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34" name="Ellipse 133">
              <a:extLst>
                <a:ext uri="{FF2B5EF4-FFF2-40B4-BE49-F238E27FC236}">
                  <a16:creationId xmlns:a16="http://schemas.microsoft.com/office/drawing/2014/main" id="{6AC7AAE4-84D9-4868-BBEC-1964A06E5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444" y="3295537"/>
              <a:ext cx="651194" cy="651192"/>
            </a:xfrm>
            <a:prstGeom prst="ellipse">
              <a:avLst/>
            </a:prstGeom>
            <a:noFill/>
            <a:ln w="12700" cap="rnd">
              <a:solidFill>
                <a:srgbClr val="9999A9"/>
              </a:solidFill>
              <a:prstDash val="sysDot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6" name="Freihandform: Form 245">
              <a:extLst>
                <a:ext uri="{FF2B5EF4-FFF2-40B4-BE49-F238E27FC236}">
                  <a16:creationId xmlns:a16="http://schemas.microsoft.com/office/drawing/2014/main" id="{170E8301-1DE2-4CA0-B804-995C860C945A}"/>
                </a:ext>
              </a:extLst>
            </p:cNvPr>
            <p:cNvSpPr/>
            <p:nvPr/>
          </p:nvSpPr>
          <p:spPr>
            <a:xfrm>
              <a:off x="6622648" y="3400377"/>
              <a:ext cx="195909" cy="133171"/>
            </a:xfrm>
            <a:custGeom>
              <a:avLst/>
              <a:gdLst>
                <a:gd name="connsiteX0" fmla="*/ 147468 w 154396"/>
                <a:gd name="connsiteY0" fmla="*/ 97768 h 104952"/>
                <a:gd name="connsiteX1" fmla="*/ 178 w 154396"/>
                <a:gd name="connsiteY1" fmla="*/ 104953 h 104952"/>
                <a:gd name="connsiteX2" fmla="*/ 74080 w 154396"/>
                <a:gd name="connsiteY2" fmla="*/ 2 h 104952"/>
                <a:gd name="connsiteX3" fmla="*/ 154396 w 154396"/>
                <a:gd name="connsiteY3" fmla="*/ 85451 h 104952"/>
                <a:gd name="connsiteX4" fmla="*/ 152857 w 154396"/>
                <a:gd name="connsiteY4" fmla="*/ 102643 h 104952"/>
                <a:gd name="connsiteX5" fmla="*/ 147468 w 154396"/>
                <a:gd name="connsiteY5" fmla="*/ 97768 h 10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4396" h="104952">
                  <a:moveTo>
                    <a:pt x="147468" y="97768"/>
                  </a:moveTo>
                  <a:cubicBezTo>
                    <a:pt x="107438" y="67745"/>
                    <a:pt x="18140" y="74417"/>
                    <a:pt x="178" y="104953"/>
                  </a:cubicBezTo>
                  <a:cubicBezTo>
                    <a:pt x="178" y="104953"/>
                    <a:pt x="-7263" y="516"/>
                    <a:pt x="74080" y="2"/>
                  </a:cubicBezTo>
                  <a:cubicBezTo>
                    <a:pt x="147212" y="-511"/>
                    <a:pt x="154396" y="80062"/>
                    <a:pt x="154396" y="85451"/>
                  </a:cubicBezTo>
                  <a:cubicBezTo>
                    <a:pt x="154396" y="90840"/>
                    <a:pt x="152857" y="102643"/>
                    <a:pt x="152857" y="102643"/>
                  </a:cubicBezTo>
                  <a:lnTo>
                    <a:pt x="147468" y="97768"/>
                  </a:lnTo>
                  <a:close/>
                </a:path>
              </a:pathLst>
            </a:custGeom>
            <a:solidFill>
              <a:srgbClr val="000028"/>
            </a:solidFill>
            <a:ln w="2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ihandform: Form 159">
              <a:extLst>
                <a:ext uri="{FF2B5EF4-FFF2-40B4-BE49-F238E27FC236}">
                  <a16:creationId xmlns:a16="http://schemas.microsoft.com/office/drawing/2014/main" id="{ECFE51C1-A211-4AD1-AA21-3477A4293922}"/>
                </a:ext>
              </a:extLst>
            </p:cNvPr>
            <p:cNvSpPr/>
            <p:nvPr/>
          </p:nvSpPr>
          <p:spPr>
            <a:xfrm>
              <a:off x="6687992" y="3479825"/>
              <a:ext cx="9768" cy="26372"/>
            </a:xfrm>
            <a:custGeom>
              <a:avLst/>
              <a:gdLst>
                <a:gd name="connsiteX0" fmla="*/ 0 w 7698"/>
                <a:gd name="connsiteY0" fmla="*/ 19502 h 20784"/>
                <a:gd name="connsiteX1" fmla="*/ 1796 w 7698"/>
                <a:gd name="connsiteY1" fmla="*/ 0 h 20784"/>
                <a:gd name="connsiteX2" fmla="*/ 7698 w 7698"/>
                <a:gd name="connsiteY2" fmla="*/ 20785 h 20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98" h="20784">
                  <a:moveTo>
                    <a:pt x="0" y="19502"/>
                  </a:moveTo>
                  <a:lnTo>
                    <a:pt x="1796" y="0"/>
                  </a:lnTo>
                  <a:lnTo>
                    <a:pt x="7698" y="20785"/>
                  </a:lnTo>
                  <a:close/>
                </a:path>
              </a:pathLst>
            </a:custGeom>
            <a:solidFill>
              <a:srgbClr val="DEDED5"/>
            </a:solidFill>
            <a:ln w="2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6" name="Freihandform: Form 255">
            <a:extLst>
              <a:ext uri="{FF2B5EF4-FFF2-40B4-BE49-F238E27FC236}">
                <a16:creationId xmlns:a16="http://schemas.microsoft.com/office/drawing/2014/main" id="{BB27CF7B-EC87-4188-9E40-C8F9E4E7C1FF}"/>
              </a:ext>
            </a:extLst>
          </p:cNvPr>
          <p:cNvSpPr>
            <a:spLocks/>
          </p:cNvSpPr>
          <p:nvPr/>
        </p:nvSpPr>
        <p:spPr>
          <a:xfrm>
            <a:off x="5676213" y="5027953"/>
            <a:ext cx="230290" cy="126288"/>
          </a:xfrm>
          <a:custGeom>
            <a:avLst/>
            <a:gdLst>
              <a:gd name="connsiteX0" fmla="*/ 629252 w 629251"/>
              <a:gd name="connsiteY0" fmla="*/ 40601 h 345076"/>
              <a:gd name="connsiteX1" fmla="*/ 589367 w 629251"/>
              <a:gd name="connsiteY1" fmla="*/ 0 h 345076"/>
              <a:gd name="connsiteX2" fmla="*/ 314644 w 629251"/>
              <a:gd name="connsiteY2" fmla="*/ 223272 h 345076"/>
              <a:gd name="connsiteX3" fmla="*/ 40602 w 629251"/>
              <a:gd name="connsiteY3" fmla="*/ 0 h 345076"/>
              <a:gd name="connsiteX4" fmla="*/ 0 w 629251"/>
              <a:gd name="connsiteY4" fmla="*/ 40601 h 345076"/>
              <a:gd name="connsiteX5" fmla="*/ 314608 w 629251"/>
              <a:gd name="connsiteY5" fmla="*/ 345077 h 345076"/>
              <a:gd name="connsiteX6" fmla="*/ 629252 w 629251"/>
              <a:gd name="connsiteY6" fmla="*/ 40601 h 345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251" h="345076">
                <a:moveTo>
                  <a:pt x="629252" y="40601"/>
                </a:moveTo>
                <a:lnTo>
                  <a:pt x="589367" y="0"/>
                </a:lnTo>
                <a:lnTo>
                  <a:pt x="314644" y="223272"/>
                </a:lnTo>
                <a:lnTo>
                  <a:pt x="40602" y="0"/>
                </a:lnTo>
                <a:lnTo>
                  <a:pt x="0" y="40601"/>
                </a:lnTo>
                <a:lnTo>
                  <a:pt x="314608" y="345077"/>
                </a:lnTo>
                <a:lnTo>
                  <a:pt x="629252" y="40601"/>
                </a:lnTo>
                <a:close/>
              </a:path>
            </a:pathLst>
          </a:custGeom>
          <a:solidFill>
            <a:srgbClr val="9999A9"/>
          </a:solidFill>
          <a:ln w="3579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4" name="Textfeld 213">
            <a:extLst>
              <a:ext uri="{FF2B5EF4-FFF2-40B4-BE49-F238E27FC236}">
                <a16:creationId xmlns:a16="http://schemas.microsoft.com/office/drawing/2014/main" id="{21D10F01-B93D-4EB3-B04F-EF414082D854}"/>
              </a:ext>
            </a:extLst>
          </p:cNvPr>
          <p:cNvSpPr txBox="1">
            <a:spLocks/>
          </p:cNvSpPr>
          <p:nvPr/>
        </p:nvSpPr>
        <p:spPr bwMode="gray">
          <a:xfrm>
            <a:off x="4540409" y="5259822"/>
            <a:ext cx="2711092" cy="2811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defTabSz="913943">
              <a:lnSpc>
                <a:spcPct val="110000"/>
              </a:lnSpc>
              <a:defRPr spc="12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rgbClr val="005654"/>
                </a:solidFill>
                <a:cs typeface="+mj-cs"/>
              </a:rPr>
              <a:t>ЖЕЛЕЗНАЯ ДОРОГА</a:t>
            </a:r>
            <a:endParaRPr kumimoji="0" lang="en-GB" sz="1800" b="1" i="0" u="none" strike="noStrike" kern="1200" cap="none" spc="120" normalizeH="0" baseline="0" noProof="0" dirty="0">
              <a:ln>
                <a:noFill/>
              </a:ln>
              <a:solidFill>
                <a:srgbClr val="005654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j-cs"/>
            </a:endParaRPr>
          </a:p>
        </p:txBody>
      </p:sp>
      <p:sp>
        <p:nvSpPr>
          <p:cNvPr id="216" name="Footer Placeholder">
            <a:extLst>
              <a:ext uri="{FF2B5EF4-FFF2-40B4-BE49-F238E27FC236}">
                <a16:creationId xmlns:a16="http://schemas.microsoft.com/office/drawing/2014/main" id="{89A24FDD-75BD-44C8-8339-5D5C8DB64D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20 </a:t>
            </a:r>
          </a:p>
        </p:txBody>
      </p:sp>
    </p:spTree>
    <p:extLst>
      <p:ext uri="{BB962C8B-B14F-4D97-AF65-F5344CB8AC3E}">
        <p14:creationId xmlns:p14="http://schemas.microsoft.com/office/powerpoint/2010/main" val="1941788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9052C4-D001-4B5C-A641-84F9314D8D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2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9052C4-D001-4B5C-A641-84F9314D8D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DCC5616-0F84-4CB8-BD08-DF501F5C47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defRPr/>
            </a:pPr>
            <a:endParaRPr lang="ru-RU" sz="2800" b="1" strike="noStrike" kern="1200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E0DD62-C674-4F78-BBB7-F013A9B52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000000"/>
                </a:solidFill>
                <a:latin typeface="Arial"/>
              </a:rPr>
              <a:t>Стр.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6" name="Footer Placeholder">
            <a:extLst>
              <a:ext uri="{FF2B5EF4-FFF2-40B4-BE49-F238E27FC236}">
                <a16:creationId xmlns:a16="http://schemas.microsoft.com/office/drawing/2014/main" id="{89A24FDD-75BD-44C8-8339-5D5C8DB64D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© Siemens 2020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5A13F7-0DA4-4667-99D4-522FB9676D0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053" y="1118605"/>
            <a:ext cx="12192000" cy="5134152"/>
          </a:xfrm>
          <a:prstGeom prst="rect">
            <a:avLst/>
          </a:prstGeom>
        </p:spPr>
      </p:pic>
      <p:sp>
        <p:nvSpPr>
          <p:cNvPr id="1253" name="Titel 1">
            <a:extLst>
              <a:ext uri="{FF2B5EF4-FFF2-40B4-BE49-F238E27FC236}">
                <a16:creationId xmlns:a16="http://schemas.microsoft.com/office/drawing/2014/main" id="{35F12452-64D9-4E5D-AE6A-D737A664E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1781600" cy="576000"/>
          </a:xfrm>
        </p:spPr>
        <p:txBody>
          <a:bodyPr/>
          <a:lstStyle/>
          <a:p>
            <a:r>
              <a:rPr lang="ru-RU" sz="2800" dirty="0">
                <a:latin typeface="Siemens Sans Black" pitchFamily="2" charset="0"/>
              </a:rPr>
              <a:t>Цифровая платформа </a:t>
            </a:r>
            <a:r>
              <a:rPr lang="en-US" sz="2800" dirty="0"/>
              <a:t>Railigent® </a:t>
            </a:r>
            <a:r>
              <a:rPr lang="ru-RU" sz="2800" dirty="0"/>
              <a:t>помогает заказчикам</a:t>
            </a:r>
            <a:br>
              <a:rPr lang="ru-RU" sz="2800" dirty="0"/>
            </a:br>
            <a:r>
              <a:rPr lang="ru-RU" sz="2800" dirty="0"/>
              <a:t>во всем мире обеспечивать безопасность движения  </a:t>
            </a:r>
            <a:endParaRPr lang="en-GB" sz="2800" b="0" dirty="0">
              <a:latin typeface="Siemens Sans Blac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648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B050C8-89B5-4CEC-BE39-1E9371B1CA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794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Слайд think-cell" r:id="rId4" imgW="624" imgH="623" progId="TCLayout.ActiveDocument.1">
                  <p:embed/>
                </p:oleObj>
              </mc:Choice>
              <mc:Fallback>
                <p:oleObj name="Слайд think-cell" r:id="rId4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D50B2FF-A78D-4BE8-90AF-0955B2C183F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© Siemens 20</a:t>
            </a:r>
            <a:r>
              <a:rPr lang="ru-RU" dirty="0"/>
              <a:t>20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4607F6A-67E4-4A97-9612-5EF9EB82E85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/>
              <a:t>Стр.</a:t>
            </a:r>
            <a:r>
              <a:rPr lang="en-US" dirty="0"/>
              <a:t> </a:t>
            </a:r>
            <a:fld id="{15EBE321-CBB1-4E91-BD14-37C8D44326F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2394D4C-1ED9-4337-B2FA-AB577012C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FEBCDD24-51DC-4E53-A6B4-B43A316EE3A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4" name="Copy 1">
            <a:extLst>
              <a:ext uri="{FF2B5EF4-FFF2-40B4-BE49-F238E27FC236}">
                <a16:creationId xmlns:a16="http://schemas.microsoft.com/office/drawing/2014/main" id="{3B27C695-6D08-46B4-BFF6-57310BD70997}"/>
              </a:ext>
            </a:extLst>
          </p:cNvPr>
          <p:cNvSpPr txBox="1">
            <a:spLocks/>
          </p:cNvSpPr>
          <p:nvPr/>
        </p:nvSpPr>
        <p:spPr>
          <a:xfrm>
            <a:off x="735161" y="690560"/>
            <a:ext cx="4017591" cy="5221142"/>
          </a:xfrm>
          <a:prstGeom prst="rect">
            <a:avLst/>
          </a:prstGeom>
          <a:solidFill>
            <a:srgbClr val="F8F8F8">
              <a:alpha val="83137"/>
            </a:srgbClr>
          </a:solidFill>
          <a:ln w="76200">
            <a:solidFill>
              <a:srgbClr val="00D7A0"/>
            </a:solidFill>
          </a:ln>
        </p:spPr>
        <p:txBody>
          <a:bodyPr vert="horz" lIns="216000" tIns="144000" rIns="216000" bIns="144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00FFB9"/>
              </a:buClr>
              <a:buFont typeface="Arial" panose="020B0604020202020204" pitchFamily="34" charset="0"/>
              <a:buChar char="•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3600" dirty="0">
                <a:latin typeface="Siemens Sans Black" pitchFamily="2" charset="0"/>
              </a:rPr>
              <a:t>Поезда «Сапсан»</a:t>
            </a:r>
            <a:endParaRPr lang="de-DE" sz="3600" dirty="0">
              <a:latin typeface="Siemens Sans Black" pitchFamily="2" charset="0"/>
            </a:endParaRPr>
          </a:p>
          <a:p>
            <a:pPr>
              <a:lnSpc>
                <a:spcPct val="90000"/>
              </a:lnSpc>
            </a:pPr>
            <a:endParaRPr lang="ru-RU" sz="1200" dirty="0">
              <a:latin typeface="Siemens Sans Black" pitchFamily="2" charset="0"/>
            </a:endParaRPr>
          </a:p>
          <a:p>
            <a:pPr marL="342900" indent="-342900">
              <a:lnSpc>
                <a:spcPct val="90000"/>
              </a:lnSpc>
              <a:buClr>
                <a:schemeClr val="accent2">
                  <a:lumMod val="75000"/>
                </a:schemeClr>
              </a:buClr>
              <a:buSzPct val="83000"/>
              <a:buFont typeface="Wingdings" panose="05000000000000000000" pitchFamily="2" charset="2"/>
              <a:buChar char="Ø"/>
            </a:pPr>
            <a:r>
              <a:rPr lang="ru-RU" sz="2800" dirty="0">
                <a:latin typeface="Siemens Sans Black" pitchFamily="2" charset="0"/>
              </a:rPr>
              <a:t>Пробег парка:</a:t>
            </a:r>
            <a:br>
              <a:rPr lang="ru-RU" sz="2800" dirty="0">
                <a:latin typeface="Siemens Sans Black" pitchFamily="2" charset="0"/>
              </a:rPr>
            </a:br>
            <a:r>
              <a:rPr lang="ru-RU" sz="2800" dirty="0">
                <a:latin typeface="Siemens Sans Black" pitchFamily="2" charset="0"/>
              </a:rPr>
              <a:t>60 миллионов километров</a:t>
            </a:r>
            <a:br>
              <a:rPr lang="ru-RU" sz="2800" dirty="0">
                <a:latin typeface="Siemens Sans Black" pitchFamily="2" charset="0"/>
              </a:rPr>
            </a:br>
            <a:r>
              <a:rPr lang="ru-RU" sz="2800" dirty="0">
                <a:latin typeface="Siemens Sans Black" pitchFamily="2" charset="0"/>
              </a:rPr>
              <a:t>с 2009 года</a:t>
            </a:r>
            <a:br>
              <a:rPr lang="ru-RU" sz="2800" dirty="0">
                <a:latin typeface="Siemens Sans Black" pitchFamily="2" charset="0"/>
              </a:rPr>
            </a:br>
            <a:endParaRPr lang="de-DE" sz="2800" dirty="0">
              <a:latin typeface="Siemens Sans Black" pitchFamily="2" charset="0"/>
            </a:endParaRPr>
          </a:p>
          <a:p>
            <a:pPr marL="342900" indent="-342900">
              <a:lnSpc>
                <a:spcPct val="90000"/>
              </a:lnSpc>
              <a:buClr>
                <a:schemeClr val="accent2">
                  <a:lumMod val="75000"/>
                </a:schemeClr>
              </a:buClr>
              <a:buSzPct val="83000"/>
              <a:buFont typeface="Wingdings" panose="05000000000000000000" pitchFamily="2" charset="2"/>
              <a:buChar char="Ø"/>
            </a:pPr>
            <a:r>
              <a:rPr lang="ru-RU" sz="2800" dirty="0">
                <a:latin typeface="Siemens Sans Black" pitchFamily="2" charset="0"/>
              </a:rPr>
              <a:t>12 миллионов километров без опозданий</a:t>
            </a:r>
            <a:br>
              <a:rPr lang="de-DE" sz="2800" dirty="0">
                <a:latin typeface="Siemens Sans Black" pitchFamily="2" charset="0"/>
              </a:rPr>
            </a:br>
            <a:r>
              <a:rPr lang="ru-RU" sz="2800" dirty="0">
                <a:latin typeface="Siemens Sans Black" pitchFamily="2" charset="0"/>
              </a:rPr>
              <a:t>(</a:t>
            </a:r>
            <a:r>
              <a:rPr lang="en-US" sz="2800" dirty="0">
                <a:latin typeface="Siemens Sans Black" pitchFamily="2" charset="0"/>
              </a:rPr>
              <a:t>&gt; 5 </a:t>
            </a:r>
            <a:r>
              <a:rPr lang="ru-RU" sz="2800" dirty="0">
                <a:latin typeface="Siemens Sans Black" pitchFamily="2" charset="0"/>
              </a:rPr>
              <a:t>минут)</a:t>
            </a:r>
          </a:p>
        </p:txBody>
      </p:sp>
    </p:spTree>
    <p:extLst>
      <p:ext uri="{BB962C8B-B14F-4D97-AF65-F5344CB8AC3E}">
        <p14:creationId xmlns:p14="http://schemas.microsoft.com/office/powerpoint/2010/main" val="1500305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5A3161-4F08-4730-A507-13118381D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656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Слайд think-cell" r:id="rId5" imgW="624" imgH="623" progId="TCLayout.ActiveDocument.1">
                  <p:embed/>
                </p:oleObj>
              </mc:Choice>
              <mc:Fallback>
                <p:oleObj name="Слайд think-cell" r:id="rId5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0E6B06D-1FB7-4818-8ECB-6102A1BAF0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endParaRPr lang="ru-RU" sz="4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DA865AB3-8AE0-4AB0-94C2-2E517EC14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1414464"/>
            <a:ext cx="11376788" cy="3385542"/>
          </a:xfrm>
        </p:spPr>
        <p:txBody>
          <a:bodyPr/>
          <a:lstStyle/>
          <a:p>
            <a:r>
              <a:rPr lang="ru-RU" sz="4400" dirty="0"/>
              <a:t>Ключ к обеспечению устойчивой работы железнодорожного транспорта – масштабное взаимодействие </a:t>
            </a:r>
            <a:r>
              <a:rPr lang="ru-RU" sz="4400"/>
              <a:t>для достижения </a:t>
            </a:r>
            <a:r>
              <a:rPr lang="ru-RU" sz="4400" dirty="0"/>
              <a:t>100% технической готовности.</a:t>
            </a:r>
            <a:endParaRPr lang="en-US" sz="4400" b="0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8FDA17C2-CC0D-4A70-A1C4-4DAA44F6477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Siemens 2020 | </a:t>
            </a:r>
          </a:p>
        </p:txBody>
      </p:sp>
    </p:spTree>
    <p:extLst>
      <p:ext uri="{BB962C8B-B14F-4D97-AF65-F5344CB8AC3E}">
        <p14:creationId xmlns:p14="http://schemas.microsoft.com/office/powerpoint/2010/main" val="49588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.QvreN2XUY0Jy9pEjZ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.QvreN2XUY0Jy9pEjZ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.PyqEp2uU4bQiZLyKL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NScs.hDTl_2Ev1.k4n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Le2.QH2lLXf.mcyBwQ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hvBuSHcJ5O477yVPQc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</TotalTime>
  <Words>249</Words>
  <Application>Microsoft Office PowerPoint</Application>
  <PresentationFormat>Широкоэкранный</PresentationFormat>
  <Paragraphs>56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5" baseType="lpstr">
      <vt:lpstr>Arial</vt:lpstr>
      <vt:lpstr>Siemens Sans</vt:lpstr>
      <vt:lpstr>Siemens Sans Black</vt:lpstr>
      <vt:lpstr>Wingdings</vt:lpstr>
      <vt:lpstr>Siemens 2020</vt:lpstr>
      <vt:lpstr>1_Siemens 2020</vt:lpstr>
      <vt:lpstr>2_Siemens 2020</vt:lpstr>
      <vt:lpstr>Слайд think-cell</vt:lpstr>
      <vt:lpstr>Альянс 100% технической готовности.</vt:lpstr>
      <vt:lpstr>Презентация PowerPoint</vt:lpstr>
      <vt:lpstr>Презентация PowerPoint</vt:lpstr>
      <vt:lpstr>«Альянс 100% технической готовности» –  открытая экосистема на основе цифровых технологий </vt:lpstr>
      <vt:lpstr>Цифровая платформа Railigent® помогает заказчикам во всем мире обеспечивать безопасность движения  </vt:lpstr>
      <vt:lpstr>Презентация PowerPoint</vt:lpstr>
      <vt:lpstr>Ключ к обеспечению устойчивой работы железнодорожного транспорта – масштабное взаимодействие для достижения 100% технической готовности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dc:creator>Catharina Cariss | i-pointing</dc:creator>
  <cp:keywords>Template</cp:keywords>
  <dc:description>Version 3.0.8
September 2020</dc:description>
  <cp:lastModifiedBy>Татьяна</cp:lastModifiedBy>
  <cp:revision>69</cp:revision>
  <dcterms:created xsi:type="dcterms:W3CDTF">2020-07-27T12:43:17Z</dcterms:created>
  <dcterms:modified xsi:type="dcterms:W3CDTF">2020-11-25T08:4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0-11-25T07:57:36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d6cb5811-73d9-4ad0-9849-26882e2937a1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